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1"/>
    <p:sldMasterId id="2147483676" r:id="rId2"/>
  </p:sldMasterIdLst>
  <p:notesMasterIdLst>
    <p:notesMasterId r:id="rId22"/>
  </p:notesMasterIdLst>
  <p:handoutMasterIdLst>
    <p:handoutMasterId r:id="rId23"/>
  </p:handoutMasterIdLst>
  <p:sldIdLst>
    <p:sldId id="303" r:id="rId3"/>
    <p:sldId id="370" r:id="rId4"/>
    <p:sldId id="372" r:id="rId5"/>
    <p:sldId id="375" r:id="rId6"/>
    <p:sldId id="373" r:id="rId7"/>
    <p:sldId id="376" r:id="rId8"/>
    <p:sldId id="353" r:id="rId9"/>
    <p:sldId id="355" r:id="rId10"/>
    <p:sldId id="377" r:id="rId11"/>
    <p:sldId id="364" r:id="rId12"/>
    <p:sldId id="378" r:id="rId13"/>
    <p:sldId id="379" r:id="rId14"/>
    <p:sldId id="319" r:id="rId15"/>
    <p:sldId id="363" r:id="rId16"/>
    <p:sldId id="381" r:id="rId17"/>
    <p:sldId id="382" r:id="rId18"/>
    <p:sldId id="310" r:id="rId19"/>
    <p:sldId id="326" r:id="rId20"/>
    <p:sldId id="380" r:id="rId21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0AA1E"/>
    <a:srgbClr val="418A18"/>
    <a:srgbClr val="8CD153"/>
    <a:srgbClr val="A1C064"/>
    <a:srgbClr val="61CE24"/>
    <a:srgbClr val="7CDF45"/>
    <a:srgbClr val="33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18" autoAdjust="0"/>
    <p:restoredTop sz="94637" autoAdjust="0"/>
  </p:normalViewPr>
  <p:slideViewPr>
    <p:cSldViewPr>
      <p:cViewPr>
        <p:scale>
          <a:sx n="94" d="100"/>
          <a:sy n="94" d="100"/>
        </p:scale>
        <p:origin x="-612" y="-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9A6ED2-8BCD-4980-8751-0CDD1B2F288A}" type="datetimeFigureOut">
              <a:rPr lang="ru-RU" smtClean="0"/>
              <a:pPr/>
              <a:t>15.05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942DA2-5B93-4745-BA36-2F87B36844F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4784572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064CD-A8CF-46D5-8E51-5B10A96711F1}" type="datetimeFigureOut">
              <a:rPr lang="ru-RU" smtClean="0"/>
              <a:pPr/>
              <a:t>15.05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3A6A9B-23DC-4A30-A255-E55EAC5234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7433149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3901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80103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6675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1526" y="234878"/>
            <a:ext cx="6858405" cy="298327"/>
          </a:xfrm>
          <a:prstGeom prst="rect">
            <a:avLst/>
          </a:prstGeom>
        </p:spPr>
        <p:txBody>
          <a:bodyPr lIns="91430" tIns="45716" rIns="91430" bIns="45716" anchor="ctr" anchorCtr="0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pic>
        <p:nvPicPr>
          <p:cNvPr id="3" name="Picture 48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51" y="65681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21221" y="1359061"/>
            <a:ext cx="8841727" cy="4775059"/>
          </a:xfrm>
          <a:prstGeom prst="rect">
            <a:avLst/>
          </a:prstGeom>
        </p:spPr>
        <p:txBody>
          <a:bodyPr lIns="91430" tIns="45716" rIns="91430" bIns="4571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121221" y="786060"/>
            <a:ext cx="8841727" cy="584767"/>
          </a:xfrm>
          <a:prstGeom prst="rect">
            <a:avLst/>
          </a:prstGeom>
        </p:spPr>
        <p:txBody>
          <a:bodyPr lIns="91430" tIns="45716" rIns="91430" bIns="45716">
            <a:spAutoFit/>
          </a:bodyPr>
          <a:lstStyle>
            <a:lvl1pPr>
              <a:defRPr>
                <a:solidFill>
                  <a:srgbClr val="80808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353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ZAR_STYLE_2013_Tit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 bwMode="auto">
          <a:xfrm>
            <a:off x="-10615" y="1831889"/>
            <a:ext cx="2998457" cy="4763417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62827" y="1831889"/>
            <a:ext cx="6078051" cy="4763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 userDrawn="1"/>
        </p:nvSpPr>
        <p:spPr bwMode="auto">
          <a:xfrm>
            <a:off x="-10614" y="255179"/>
            <a:ext cx="8111026" cy="1493398"/>
          </a:xfrm>
          <a:prstGeom prst="rect">
            <a:avLst/>
          </a:prstGeom>
          <a:solidFill>
            <a:srgbClr val="57BA4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172400" y="255198"/>
            <a:ext cx="971600" cy="1493399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1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7163" y="255179"/>
            <a:ext cx="7943229" cy="1493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5625" rIns="0" bIns="45625"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ru-RU" sz="3100" b="1" spc="0" baseline="0">
                <a:solidFill>
                  <a:schemeClr val="bg1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6690" y="3573020"/>
            <a:ext cx="282114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625" rIns="0" bIns="45625" numCol="1" anchor="ctr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Tx/>
              <a:buNone/>
              <a:defRPr lang="ru-RU" sz="2400" b="1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ru-RU" dirty="0"/>
              <a:t>Образец </a:t>
            </a:r>
            <a:r>
              <a:rPr lang="ru-RU" dirty="0" smtClean="0"/>
              <a:t>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0757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00656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57635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2661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168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09807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3147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41798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20332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95843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55874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1728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3782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1526" y="234878"/>
            <a:ext cx="6858405" cy="298327"/>
          </a:xfrm>
          <a:prstGeom prst="rect">
            <a:avLst/>
          </a:prstGeom>
        </p:spPr>
        <p:txBody>
          <a:bodyPr lIns="91430" tIns="45716" rIns="91430" bIns="45716" anchor="ctr" anchorCtr="0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pic>
        <p:nvPicPr>
          <p:cNvPr id="3" name="Picture 48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51" y="65681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21221" y="1359061"/>
            <a:ext cx="8841727" cy="4775059"/>
          </a:xfrm>
          <a:prstGeom prst="rect">
            <a:avLst/>
          </a:prstGeom>
        </p:spPr>
        <p:txBody>
          <a:bodyPr lIns="91430" tIns="45716" rIns="91430" bIns="4571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121221" y="786060"/>
            <a:ext cx="8841727" cy="584767"/>
          </a:xfrm>
          <a:prstGeom prst="rect">
            <a:avLst/>
          </a:prstGeom>
        </p:spPr>
        <p:txBody>
          <a:bodyPr lIns="91430" tIns="45716" rIns="91430" bIns="45716">
            <a:spAutoFit/>
          </a:bodyPr>
          <a:lstStyle>
            <a:lvl1pPr>
              <a:defRPr>
                <a:solidFill>
                  <a:srgbClr val="80808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7020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ZAR_STYLE_2013_Tit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 bwMode="auto">
          <a:xfrm>
            <a:off x="-10615" y="1831889"/>
            <a:ext cx="2998457" cy="4763417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62827" y="1831889"/>
            <a:ext cx="6078051" cy="4763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 userDrawn="1"/>
        </p:nvSpPr>
        <p:spPr bwMode="auto">
          <a:xfrm>
            <a:off x="-10614" y="255179"/>
            <a:ext cx="8111026" cy="1493398"/>
          </a:xfrm>
          <a:prstGeom prst="rect">
            <a:avLst/>
          </a:prstGeom>
          <a:solidFill>
            <a:srgbClr val="57BA4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172400" y="255198"/>
            <a:ext cx="971600" cy="1493399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1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7163" y="255179"/>
            <a:ext cx="7943229" cy="1493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5625" rIns="0" bIns="45625"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ru-RU" sz="3100" b="1" spc="0" baseline="0">
                <a:solidFill>
                  <a:schemeClr val="bg1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6690" y="3573020"/>
            <a:ext cx="282114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625" rIns="0" bIns="45625" numCol="1" anchor="ctr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Tx/>
              <a:buNone/>
              <a:defRPr lang="ru-RU" sz="2400" b="1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ru-RU" dirty="0"/>
              <a:t>Образец </a:t>
            </a:r>
            <a:r>
              <a:rPr lang="ru-RU" dirty="0" smtClean="0"/>
              <a:t>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17119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ZAR_STYLE_2013_Bas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61640" y="104780"/>
            <a:ext cx="7602408" cy="529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2400" b="1">
                <a:solidFill>
                  <a:srgbClr val="2E8000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668348" y="44624"/>
            <a:ext cx="1046462" cy="818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Прямая соединительная линия 15"/>
          <p:cNvCxnSpPr/>
          <p:nvPr userDrawn="1"/>
        </p:nvCxnSpPr>
        <p:spPr bwMode="auto">
          <a:xfrm>
            <a:off x="179519" y="634024"/>
            <a:ext cx="7692899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7" name="Picture 2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88782" y="89281"/>
            <a:ext cx="290477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9" name="Прямая соединительная линия 18"/>
          <p:cNvCxnSpPr/>
          <p:nvPr userDrawn="1"/>
        </p:nvCxnSpPr>
        <p:spPr bwMode="auto">
          <a:xfrm>
            <a:off x="8462965" y="607827"/>
            <a:ext cx="500062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77023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4798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10433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475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15114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33009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88948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4255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6896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1966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image" Target="../media/image6.pn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image" Target="../media/image5.png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3.wmf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7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image" Target="../media/image18.png"/><Relationship Id="rId3" Type="http://schemas.openxmlformats.org/officeDocument/2006/relationships/tags" Target="../tags/tag31.xml"/><Relationship Id="rId21" Type="http://schemas.openxmlformats.org/officeDocument/2006/relationships/hyperlink" Target="http://s40.radikal.ru/i088/1009/84/cf6556f3dae1.jpg" TargetMode="Externa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image" Target="../media/image17.jpeg"/><Relationship Id="rId2" Type="http://schemas.openxmlformats.org/officeDocument/2006/relationships/tags" Target="../tags/tag30.xml"/><Relationship Id="rId16" Type="http://schemas.openxmlformats.org/officeDocument/2006/relationships/tags" Target="../tags/tag44.xml"/><Relationship Id="rId20" Type="http://schemas.openxmlformats.org/officeDocument/2006/relationships/slideLayout" Target="../slideLayouts/slideLayout27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image" Target="../media/image16.jpeg"/><Relationship Id="rId5" Type="http://schemas.openxmlformats.org/officeDocument/2006/relationships/tags" Target="../tags/tag33.xml"/><Relationship Id="rId15" Type="http://schemas.openxmlformats.org/officeDocument/2006/relationships/tags" Target="../tags/tag43.xml"/><Relationship Id="rId23" Type="http://schemas.openxmlformats.org/officeDocument/2006/relationships/image" Target="../media/image15.jpeg"/><Relationship Id="rId28" Type="http://schemas.openxmlformats.org/officeDocument/2006/relationships/image" Target="../media/image20.jpeg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image" Target="../media/image14.jpeg"/><Relationship Id="rId27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ctrTitle"/>
          </p:nvPr>
        </p:nvSpPr>
        <p:spPr>
          <a:xfrm>
            <a:off x="107505" y="260648"/>
            <a:ext cx="7992888" cy="1440160"/>
          </a:xfrm>
        </p:spPr>
        <p:txBody>
          <a:bodyPr>
            <a:noAutofit/>
          </a:bodyPr>
          <a:lstStyle/>
          <a:p>
            <a:pPr algn="ctr"/>
            <a:r>
              <a:rPr lang="ru-RU" sz="2000" b="0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0" dirty="0"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Инструменты реализации долгосрочных инвестиционных проектов на базе регламента </a:t>
            </a:r>
            <a:b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«Инвестиционные проекты с гос. поддержкой и гос. участием» </a:t>
            </a:r>
            <a:b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на основе проектного финансирования в субъектах РФ</a:t>
            </a:r>
            <a:r>
              <a:rPr lang="ru-RU" sz="2000" b="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0" dirty="0">
                <a:latin typeface="Times New Roman" pitchFamily="18" charset="0"/>
                <a:cs typeface="Times New Roman" pitchFamily="18" charset="0"/>
              </a:rPr>
            </a:br>
            <a:endParaRPr lang="ru-RU" sz="2000" b="0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07504" y="1916832"/>
            <a:ext cx="2736304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«Схема реализации инвестиционных проектов с гос. поддержкой / гос. участием» </a:t>
            </a:r>
            <a:br>
              <a:rPr lang="ru-RU" sz="160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в рамках </a:t>
            </a:r>
            <a:br>
              <a:rPr lang="ru-RU" sz="160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«Ежегодной общественной премии «Регионы – устойчивое развитие»</a:t>
            </a:r>
            <a:endParaRPr lang="ru-RU" sz="1600" b="1" u="sng" dirty="0">
              <a:solidFill>
                <a:prstClr val="white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79512" y="4437112"/>
            <a:ext cx="2592288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Управление по работе </a:t>
            </a:r>
          </a:p>
          <a:p>
            <a:pPr algn="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 субъектами РФ </a:t>
            </a:r>
          </a:p>
          <a:p>
            <a:pPr algn="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АО «Сбербанк России»</a:t>
            </a:r>
          </a:p>
          <a:p>
            <a:pPr algn="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ешетник Мария  </a:t>
            </a:r>
          </a:p>
          <a:p>
            <a:pPr algn="r"/>
            <a:endParaRPr lang="ru-RU" sz="12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/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ргкомитет </a:t>
            </a:r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Конкурса </a:t>
            </a:r>
          </a:p>
          <a:p>
            <a:pPr algn="r"/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«Ежегодная общественная премия </a:t>
            </a:r>
          </a:p>
          <a:p>
            <a:pPr algn="r"/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«Регионы – устойчивое развитие</a:t>
            </a: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»</a:t>
            </a:r>
          </a:p>
          <a:p>
            <a:pPr algn="r"/>
            <a:r>
              <a:rPr lang="ru-RU" sz="1200" b="1" dirty="0" err="1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Маштакова</a:t>
            </a: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Мария</a:t>
            </a:r>
            <a:endParaRPr lang="en-US" sz="1200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914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5" name="Заголовок 4"/>
          <p:cNvSpPr txBox="1">
            <a:spLocks noGrp="1"/>
          </p:cNvSpPr>
          <p:nvPr>
            <p:ph type="title"/>
          </p:nvPr>
        </p:nvSpPr>
        <p:spPr>
          <a:xfrm>
            <a:off x="179512" y="245353"/>
            <a:ext cx="7581900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  Преимущества реализации проектов </a:t>
            </a:r>
            <a:r>
              <a:rPr lang="ru-RU" sz="1800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«с нуля»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в рамках Конкурса</a:t>
            </a:r>
            <a:endParaRPr lang="ru-RU" sz="18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0082991"/>
              </p:ext>
            </p:extLst>
          </p:nvPr>
        </p:nvGraphicFramePr>
        <p:xfrm>
          <a:off x="179512" y="908720"/>
          <a:ext cx="8784977" cy="5758656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3986460"/>
                <a:gridCol w="2805286"/>
                <a:gridCol w="1993231"/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ru-RU" sz="16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Требования </a:t>
                      </a:r>
                    </a:p>
                    <a:p>
                      <a:pPr algn="ctr"/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 проектам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 проектам </a:t>
                      </a:r>
                    </a:p>
                    <a:p>
                      <a:pPr algn="ctr"/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нкурса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чие стандартные условия финансово – кредитных</a:t>
                      </a:r>
                      <a:r>
                        <a:rPr lang="ru-RU" sz="16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институтов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личие исходно-разрешительной</a:t>
                      </a:r>
                      <a:r>
                        <a:rPr lang="ru-RU" sz="16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документации</a:t>
                      </a:r>
                      <a:endParaRPr lang="ru-RU" sz="16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ТРЕБУЕТСЯ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ЯЗАТЕЛЬНО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414496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личие проектно-сметной документации</a:t>
                      </a:r>
                      <a:endParaRPr lang="ru-RU" sz="16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ТРЕБУЕТСЯ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ЯЗАТЕЛЬНО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личие</a:t>
                      </a:r>
                      <a:r>
                        <a:rPr lang="ru-RU" sz="16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земельного участка для реализации проекта</a:t>
                      </a:r>
                      <a:endParaRPr lang="ru-RU" sz="16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ТРЕБУЕТСЯ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в случае возможности размещения проекта на территории индустриального парка)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ЯЗАТЕЛЬНО</a:t>
                      </a:r>
                      <a:endParaRPr lang="ru-RU" sz="1600" b="0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Требование к наличию собственных средств от Инициатора проекта</a:t>
                      </a:r>
                      <a:endParaRPr lang="ru-RU" sz="16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%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0%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частие проекта в региональной программе для получения государственной поддержки</a:t>
                      </a:r>
                      <a:endParaRPr lang="ru-RU" sz="16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А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Т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тоимость проектов</a:t>
                      </a:r>
                      <a:endParaRPr lang="ru-RU" sz="16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 50 млн.</a:t>
                      </a:r>
                      <a:r>
                        <a:rPr lang="ru-RU" sz="1600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уб.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- 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рок реализации проекта</a:t>
                      </a:r>
                      <a:endParaRPr lang="ru-RU" sz="16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</a:t>
                      </a:r>
                      <a:r>
                        <a:rPr lang="ru-RU" sz="1600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15 лет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 8 лет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Заголовок 54"/>
          <p:cNvSpPr txBox="1">
            <a:spLocks/>
          </p:cNvSpPr>
          <p:nvPr/>
        </p:nvSpPr>
        <p:spPr bwMode="auto">
          <a:xfrm>
            <a:off x="161640" y="230904"/>
            <a:ext cx="449920" cy="276999"/>
          </a:xfrm>
          <a:prstGeom prst="rect">
            <a:avLst/>
          </a:prstGeom>
          <a:solidFill>
            <a:srgbClr val="005426"/>
          </a:solidFill>
          <a:ln w="9525" cmpd="dbl">
            <a:solidFill>
              <a:schemeClr val="bg1"/>
            </a:solidFill>
            <a:miter lim="800000"/>
            <a:headEnd/>
            <a:tailEnd/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b="1" noProof="0" dirty="0" smtClean="0">
                <a:solidFill>
                  <a:srgbClr val="FFFFFF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9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0356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251520" y="692696"/>
            <a:ext cx="1440160" cy="52322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нициаторы </a:t>
            </a:r>
            <a:endParaRPr lang="en-US" sz="14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ектов</a:t>
            </a:r>
            <a:endParaRPr lang="ru-RU" sz="14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11560" y="1484784"/>
            <a:ext cx="1584176" cy="52322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егиональный </a:t>
            </a:r>
          </a:p>
          <a:p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координатор </a:t>
            </a:r>
          </a:p>
        </p:txBody>
      </p:sp>
      <p:cxnSp>
        <p:nvCxnSpPr>
          <p:cNvPr id="7" name="Прямая со стрелкой 6"/>
          <p:cNvCxnSpPr/>
          <p:nvPr/>
        </p:nvCxnSpPr>
        <p:spPr>
          <a:xfrm>
            <a:off x="899592" y="1268760"/>
            <a:ext cx="88157" cy="216024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971600" y="2204864"/>
            <a:ext cx="1224136" cy="307777"/>
          </a:xfrm>
          <a:prstGeom prst="rect">
            <a:avLst/>
          </a:prstGeom>
          <a:solidFill>
            <a:srgbClr val="50AA1E"/>
          </a:solidFill>
          <a:ln w="19050"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ргкомитет</a:t>
            </a:r>
          </a:p>
        </p:txBody>
      </p:sp>
      <p:cxnSp>
        <p:nvCxnSpPr>
          <p:cNvPr id="9" name="Прямая со стрелкой 8"/>
          <p:cNvCxnSpPr/>
          <p:nvPr/>
        </p:nvCxnSpPr>
        <p:spPr>
          <a:xfrm>
            <a:off x="1187624" y="1988840"/>
            <a:ext cx="88157" cy="216024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187624" y="2636912"/>
            <a:ext cx="3024336" cy="229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Сбор первичного пакета документов по Инициатору проекта по Схеме (до 14 дней)</a:t>
            </a:r>
          </a:p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 Проведение первичного анализа (до 14 дней)</a:t>
            </a:r>
          </a:p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Сбор пакета документов по проекту по Схеме (до 45 дней)</a:t>
            </a:r>
          </a:p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Формирование полного пакета документов для направления финансовым институтам для анализа в рамках Схемы (до 14 дней)</a:t>
            </a:r>
            <a:endParaRPr lang="ru-RU" sz="13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1" name="Прямая со стрелкой 10"/>
          <p:cNvCxnSpPr/>
          <p:nvPr/>
        </p:nvCxnSpPr>
        <p:spPr>
          <a:xfrm>
            <a:off x="1403648" y="2492896"/>
            <a:ext cx="88157" cy="216024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Стрелка вправо 11"/>
          <p:cNvSpPr/>
          <p:nvPr/>
        </p:nvSpPr>
        <p:spPr>
          <a:xfrm>
            <a:off x="4283968" y="3861048"/>
            <a:ext cx="648072" cy="288032"/>
          </a:xfrm>
          <a:prstGeom prst="rightArrow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004048" y="3573016"/>
            <a:ext cx="3816424" cy="692497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направление проекта на рассмотрение Инвесторам (членам Попечительского совета)</a:t>
            </a:r>
            <a:r>
              <a:rPr lang="en-US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- 14 </a:t>
            </a: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ней</a:t>
            </a:r>
            <a:endParaRPr lang="ru-RU" sz="13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004048" y="4293096"/>
            <a:ext cx="3816424" cy="692497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направление проекта на рассмотрение внешнему эксперту по финансам (членам Попечительского совета)</a:t>
            </a:r>
            <a:r>
              <a:rPr lang="en-US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- </a:t>
            </a: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21</a:t>
            </a:r>
            <a:r>
              <a:rPr lang="en-US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ней (параллельно)</a:t>
            </a:r>
            <a:endParaRPr lang="ru-RU" sz="13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004048" y="5085184"/>
            <a:ext cx="3816424" cy="492443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направление проекта на рассмотрение субъектам РФ (господдержка) </a:t>
            </a:r>
            <a:r>
              <a:rPr lang="en-US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30</a:t>
            </a:r>
            <a:r>
              <a:rPr lang="en-US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ней (параллельно)</a:t>
            </a:r>
            <a:endParaRPr lang="ru-RU" sz="13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000628" y="5715016"/>
            <a:ext cx="3816424" cy="492443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направление проекта на рассмотрение членам Попечительского совета</a:t>
            </a:r>
            <a:endParaRPr lang="ru-RU" sz="13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004048" y="6376972"/>
            <a:ext cx="3816424" cy="292388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>
              <a:buFont typeface="Arial" pitchFamily="34" charset="0"/>
              <a:buChar char="•"/>
            </a:pPr>
            <a:r>
              <a:rPr lang="ru-RU" sz="1300" b="1" u="sng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Подписание Инвестиционного соглашение</a:t>
            </a:r>
            <a:endParaRPr lang="ru-RU" sz="1300" b="1" u="sng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79512" y="5877272"/>
            <a:ext cx="39604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ассмотрение инвестиционного проекта до  момента итогового решения (всеми участниками) занимает 3,5 месяца</a:t>
            </a:r>
            <a:endParaRPr lang="ru-RU" sz="1600" b="1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Заголовок 18"/>
          <p:cNvSpPr txBox="1">
            <a:spLocks noGrp="1"/>
          </p:cNvSpPr>
          <p:nvPr>
            <p:ph type="title"/>
          </p:nvPr>
        </p:nvSpPr>
        <p:spPr>
          <a:xfrm>
            <a:off x="182563" y="198880"/>
            <a:ext cx="7581900" cy="340428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en-US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         </a:t>
            </a:r>
            <a:r>
              <a:rPr lang="ru-RU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роцедура рассмотрение инвестиционных проектов в рамках  Конкурса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0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5127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8"/>
          <p:cNvSpPr txBox="1">
            <a:spLocks noGrp="1"/>
          </p:cNvSpPr>
          <p:nvPr>
            <p:ph type="title"/>
          </p:nvPr>
        </p:nvSpPr>
        <p:spPr>
          <a:xfrm>
            <a:off x="395536" y="49832"/>
            <a:ext cx="7632848" cy="648205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pPr algn="just"/>
            <a:r>
              <a:rPr lang="en-US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роцедура рассмотрения региональных инвестиционных проектов по «Схеме взаимодействия при реализации инвестиционных проектов с гос. поддержкой / гос. участием», утвержденной № __ Сбербанк России для реализации в соответствии с Постановлением Правительства № 1044 от 11.10.2014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5496" y="188640"/>
            <a:ext cx="464296" cy="338554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1600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0</a:t>
            </a: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’</a:t>
            </a:r>
            <a:r>
              <a:rPr lang="ru-RU" sz="1600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79512" y="836712"/>
            <a:ext cx="6192688" cy="292388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>
              <a:buFont typeface="Arial" pitchFamily="34" charset="0"/>
              <a:buChar char="•"/>
            </a:pPr>
            <a:r>
              <a:rPr lang="ru-RU" sz="1300" b="1" u="sng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Подписание Инвестиционного соглашение</a:t>
            </a:r>
            <a:endParaRPr lang="ru-RU" sz="1300" b="1" u="sng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79512" y="1268760"/>
            <a:ext cx="6192688" cy="492443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разработка Проектно – сметной документации (ПСД) под условия внешнего эксперта по финансам (1)  / получение разрешение на строительство</a:t>
            </a:r>
            <a:endParaRPr lang="ru-RU" sz="13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79512" y="1844824"/>
            <a:ext cx="6192688" cy="29238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формирование пакета документов для предоставления в МЭР РФ</a:t>
            </a:r>
            <a:endParaRPr lang="ru-RU" sz="13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79512" y="2564904"/>
            <a:ext cx="8784976" cy="292388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ru-RU" sz="1300" b="1" u="sng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дача пакета документов по Проекту в МЭР РФ / Получение протокола о отборе проекта</a:t>
            </a:r>
            <a:endParaRPr lang="ru-RU" sz="1300" b="1" u="sng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59024" y="3212976"/>
            <a:ext cx="8605464" cy="292388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ru-RU" sz="1300" b="1" u="sng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дача пакета документов по Проекту в ВЭБ / Получение положительного заключения по проекту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683568" y="3861048"/>
            <a:ext cx="8280920" cy="461665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ru-RU" sz="1200" b="1" u="sng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дача пакета документов по Проекту в </a:t>
            </a:r>
            <a:r>
              <a:rPr lang="ru-RU" sz="1200" b="1" u="sng" dirty="0" err="1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инФин</a:t>
            </a:r>
            <a:r>
              <a:rPr lang="ru-RU" sz="1200" b="1" u="sng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РФ / решение о предоставлении гос. гарантии по проекту (приказ) /направление решение всем участникам 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2483768" y="5517232"/>
            <a:ext cx="5472608" cy="29238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Заключение Кредитного договора и сопутствующих Договоров</a:t>
            </a:r>
            <a:endParaRPr lang="ru-RU" sz="13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444208" y="1268760"/>
            <a:ext cx="2592288" cy="89255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3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Мониторинг ведет Оргкомитет Конкурса</a:t>
            </a:r>
          </a:p>
          <a:p>
            <a:pPr algn="ctr"/>
            <a:endParaRPr lang="ru-RU" sz="1300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300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9" name="Стрелка вниз 38"/>
          <p:cNvSpPr/>
          <p:nvPr/>
        </p:nvSpPr>
        <p:spPr>
          <a:xfrm>
            <a:off x="2771800" y="2204864"/>
            <a:ext cx="288032" cy="288032"/>
          </a:xfrm>
          <a:prstGeom prst="downArrow">
            <a:avLst/>
          </a:prstGeom>
          <a:solidFill>
            <a:srgbClr val="418A18"/>
          </a:solidFill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418A18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491880" y="2920588"/>
            <a:ext cx="252028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(согласно графика заседаний)</a:t>
            </a:r>
            <a:endParaRPr lang="ru-RU" sz="13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1" name="Стрелка вниз 40"/>
          <p:cNvSpPr/>
          <p:nvPr/>
        </p:nvSpPr>
        <p:spPr>
          <a:xfrm>
            <a:off x="3203848" y="2924944"/>
            <a:ext cx="288032" cy="288032"/>
          </a:xfrm>
          <a:prstGeom prst="downArrow">
            <a:avLst/>
          </a:prstGeom>
          <a:solidFill>
            <a:srgbClr val="418A18"/>
          </a:solidFill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418A18"/>
              </a:solidFill>
            </a:endParaRPr>
          </a:p>
        </p:txBody>
      </p:sp>
      <p:sp>
        <p:nvSpPr>
          <p:cNvPr id="42" name="Стрелка вниз 41"/>
          <p:cNvSpPr/>
          <p:nvPr/>
        </p:nvSpPr>
        <p:spPr>
          <a:xfrm>
            <a:off x="4283968" y="4365104"/>
            <a:ext cx="288032" cy="288032"/>
          </a:xfrm>
          <a:prstGeom prst="downArrow">
            <a:avLst/>
          </a:prstGeom>
          <a:solidFill>
            <a:srgbClr val="418A18"/>
          </a:solidFill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418A18"/>
              </a:solidFill>
            </a:endParaRPr>
          </a:p>
        </p:txBody>
      </p:sp>
      <p:sp>
        <p:nvSpPr>
          <p:cNvPr id="43" name="Стрелка вниз 42"/>
          <p:cNvSpPr/>
          <p:nvPr/>
        </p:nvSpPr>
        <p:spPr>
          <a:xfrm>
            <a:off x="3635896" y="3573016"/>
            <a:ext cx="288032" cy="288032"/>
          </a:xfrm>
          <a:prstGeom prst="downArrow">
            <a:avLst/>
          </a:prstGeom>
          <a:solidFill>
            <a:srgbClr val="418A18"/>
          </a:solidFill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418A18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3923928" y="3568660"/>
            <a:ext cx="252028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(10 рабочих дней)</a:t>
            </a:r>
            <a:endParaRPr lang="ru-RU" sz="13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572000" y="4360748"/>
            <a:ext cx="252028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(5 рабочих дней)</a:t>
            </a:r>
            <a:endParaRPr lang="ru-RU" sz="13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1115616" y="4664169"/>
            <a:ext cx="7848872" cy="461665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ru-RU" sz="1200" b="1" u="sng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Направление пакета документов в ВЭБ / подготовка проекта Договора на предоставление государственной гарантии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4932040" y="5157192"/>
            <a:ext cx="252028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(5 рабочих дней)</a:t>
            </a:r>
            <a:endParaRPr lang="ru-RU" sz="13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8" name="Стрелка вниз 47"/>
          <p:cNvSpPr/>
          <p:nvPr/>
        </p:nvSpPr>
        <p:spPr>
          <a:xfrm>
            <a:off x="4716016" y="5157192"/>
            <a:ext cx="288032" cy="288032"/>
          </a:xfrm>
          <a:prstGeom prst="downArrow">
            <a:avLst/>
          </a:prstGeom>
          <a:solidFill>
            <a:srgbClr val="418A18"/>
          </a:solidFill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418A18"/>
              </a:solidFill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2043288"/>
              </p:ext>
            </p:extLst>
          </p:nvPr>
        </p:nvGraphicFramePr>
        <p:xfrm>
          <a:off x="142844" y="1621503"/>
          <a:ext cx="8715436" cy="4039745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430431"/>
                <a:gridCol w="5109589"/>
                <a:gridCol w="1360241"/>
                <a:gridCol w="1815175"/>
              </a:tblGrid>
              <a:tr h="737459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lvl="0"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 на соответствие нормативно – правовым документам по выделению государственной поддержки (ФЗ-209 и нормативно – правовым документам субъектов РФ)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женедельно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558685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lvl="0"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Экспертным советом (профильные научные институты / общероссийские общественные организации)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аз / в месяц 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504056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 на соответствие финансовой сегментации (внешних экспертов по финансам)</a:t>
                      </a: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раз / квартал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464470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marL="0" marR="0" indent="0" algn="l" defTabSz="894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 инвестиционными фондами (членами Попечительского совета) </a:t>
                      </a: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4 дней с момента получения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425028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 внешним экспертом по финансам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1 день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ней с момента получения</a:t>
                      </a: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374691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 Попечительским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оветом Конкурса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раз / квартал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484775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ключение Инвестиционного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оглашения, с целью реализации проекта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стоянно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251520" y="21429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9314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1043450"/>
              </p:ext>
            </p:extLst>
          </p:nvPr>
        </p:nvGraphicFramePr>
        <p:xfrm>
          <a:off x="179512" y="1916832"/>
          <a:ext cx="8715436" cy="105903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430431"/>
                <a:gridCol w="5109589"/>
                <a:gridCol w="1360241"/>
                <a:gridCol w="1815175"/>
              </a:tblGrid>
              <a:tr h="492745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ru-RU" sz="13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marL="0" marR="0" indent="0" algn="l" defTabSz="894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ормирование Консолидированных Заявок от субъектов РФ согласно Схемы</a:t>
                      </a:r>
                      <a:endParaRPr lang="ru-RU" sz="1300" b="0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жегодно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3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 01.03. по 30.05.</a:t>
                      </a:r>
                    </a:p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 01.09. по 30.10.</a:t>
                      </a:r>
                      <a:endParaRPr lang="ru-RU" sz="13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566285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едоставление Консолидированных Заявок субъектов РФ,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включающих Заявки инвестиционных проектов 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жегодно 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позднее 30.05.</a:t>
                      </a:r>
                    </a:p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позднее 30.10.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</a:tbl>
          </a:graphicData>
        </a:graphic>
      </p:graphicFrame>
      <p:sp>
        <p:nvSpPr>
          <p:cNvPr id="8" name="Заголовок 7"/>
          <p:cNvSpPr txBox="1">
            <a:spLocks noGrp="1"/>
          </p:cNvSpPr>
          <p:nvPr>
            <p:ph type="title"/>
          </p:nvPr>
        </p:nvSpPr>
        <p:spPr>
          <a:xfrm>
            <a:off x="161640" y="230904"/>
            <a:ext cx="521928" cy="276999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1800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endParaRPr lang="ru-RU" sz="1800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3149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8" name="Заголовок 7"/>
          <p:cNvSpPr txBox="1">
            <a:spLocks noGrp="1"/>
          </p:cNvSpPr>
          <p:nvPr>
            <p:ph type="title"/>
          </p:nvPr>
        </p:nvSpPr>
        <p:spPr>
          <a:xfrm>
            <a:off x="251520" y="188640"/>
            <a:ext cx="521928" cy="276999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800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3</a:t>
            </a:r>
            <a:endParaRPr lang="ru-RU" sz="1800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107502" y="1407879"/>
          <a:ext cx="8856986" cy="26691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3058"/>
                <a:gridCol w="1142730"/>
                <a:gridCol w="1177451"/>
                <a:gridCol w="1268247"/>
                <a:gridCol w="1379366"/>
                <a:gridCol w="1306768"/>
                <a:gridCol w="1379366"/>
              </a:tblGrid>
              <a:tr h="369247">
                <a:tc gridSpan="6"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редства инициатора проекта, направленные на реализацию проекта </a:t>
                      </a:r>
                    </a:p>
                    <a:p>
                      <a:pPr algn="ctr"/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0%</a:t>
                      </a:r>
                      <a:r>
                        <a:rPr lang="ru-RU" sz="14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средств Инициатора проекта  (инвестиционного бюджета проекта) </a:t>
                      </a:r>
                      <a:endParaRPr 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Доп. </a:t>
                      </a:r>
                    </a:p>
                    <a:p>
                      <a:pPr algn="ctr"/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вложения</a:t>
                      </a:r>
                      <a:endParaRPr 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</a:tr>
              <a:tr h="1781786">
                <a:tc>
                  <a:txBody>
                    <a:bodyPr/>
                    <a:lstStyle/>
                    <a:p>
                      <a:pPr algn="ctr"/>
                      <a:endParaRPr lang="ru-RU" sz="12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2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зработка пакета документов по Проекту </a:t>
                      </a:r>
                      <a:endParaRPr lang="ru-RU" sz="12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зработка ПСД </a:t>
                      </a:r>
                    </a:p>
                    <a:p>
                      <a:pPr algn="ctr"/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стадия «П»)</a:t>
                      </a:r>
                      <a:endParaRPr lang="ru-RU" sz="120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зработка ПСД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стадия «РД»)</a:t>
                      </a:r>
                    </a:p>
                    <a:p>
                      <a:pPr algn="ctr"/>
                      <a:endParaRPr lang="ru-RU" sz="120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Авансирование </a:t>
                      </a:r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МР </a:t>
                      </a:r>
                    </a:p>
                    <a:p>
                      <a:pPr algn="ctr"/>
                      <a:endParaRPr lang="ru-RU" sz="120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20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Авансирование  закупки </a:t>
                      </a:r>
                    </a:p>
                    <a:p>
                      <a:pPr algn="ctr"/>
                      <a:r>
                        <a:rPr lang="ru-RU" sz="120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орудования</a:t>
                      </a:r>
                      <a:endParaRPr lang="ru-RU" sz="120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плата процентов</a:t>
                      </a:r>
                      <a:r>
                        <a:rPr lang="ru-RU" sz="1200" baseline="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по кредиту на инвестиционной стадии </a:t>
                      </a: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2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плата</a:t>
                      </a:r>
                      <a:r>
                        <a:rPr lang="ru-RU" sz="12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гос. пошлины по Экспертизе Проектной документации</a:t>
                      </a:r>
                      <a:endParaRPr lang="ru-RU" sz="12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</a:tr>
              <a:tr h="369247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более 0,5%</a:t>
                      </a:r>
                      <a:r>
                        <a:rPr lang="ru-RU" sz="9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от суммы проекта</a:t>
                      </a:r>
                      <a:endParaRPr lang="ru-RU" sz="9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</a:t>
                      </a:r>
                      <a:r>
                        <a:rPr lang="ru-RU" sz="9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более</a:t>
                      </a:r>
                      <a:r>
                        <a:rPr lang="ru-RU" sz="9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 4% от стоимости Проекта</a:t>
                      </a:r>
                      <a:endParaRPr lang="ru-RU" sz="9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не более 3,5% от стоимость проекта</a:t>
                      </a:r>
                    </a:p>
                    <a:p>
                      <a:pPr algn="ctr"/>
                      <a:endParaRPr lang="ru-RU" sz="9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</a:t>
                      </a:r>
                      <a:r>
                        <a:rPr lang="ru-RU" sz="9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 более 2% от стоимости Проекта</a:t>
                      </a:r>
                      <a:endParaRPr lang="ru-RU" sz="9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3149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8" name="Заголовок 7"/>
          <p:cNvSpPr txBox="1">
            <a:spLocks noGrp="1"/>
          </p:cNvSpPr>
          <p:nvPr>
            <p:ph type="title"/>
          </p:nvPr>
        </p:nvSpPr>
        <p:spPr>
          <a:xfrm>
            <a:off x="161640" y="230904"/>
            <a:ext cx="521928" cy="276999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800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4</a:t>
            </a:r>
            <a:endParaRPr lang="ru-RU" sz="1800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179513" y="2060848"/>
          <a:ext cx="8784975" cy="26552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5900"/>
                <a:gridCol w="1524781"/>
                <a:gridCol w="1124692"/>
                <a:gridCol w="1530672"/>
                <a:gridCol w="1228083"/>
                <a:gridCol w="1296310"/>
                <a:gridCol w="1364537"/>
              </a:tblGrid>
              <a:tr h="369247">
                <a:tc gridSpan="6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редства инициатора проекта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30%</a:t>
                      </a:r>
                      <a:r>
                        <a:rPr lang="ru-RU" sz="14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средств Инвестора (инвестиционного бюджета проекта) </a:t>
                      </a:r>
                      <a:endParaRPr lang="ru-RU" sz="14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Доп. </a:t>
                      </a:r>
                    </a:p>
                    <a:p>
                      <a:pPr algn="ctr"/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вложения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</a:tr>
              <a:tr h="1286937">
                <a:tc>
                  <a:txBody>
                    <a:bodyPr/>
                    <a:lstStyle/>
                    <a:p>
                      <a:pPr algn="ctr"/>
                      <a:endParaRPr lang="ru-RU" sz="12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2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- </a:t>
                      </a:r>
                      <a:endParaRPr lang="ru-RU" sz="12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зработка ПСД </a:t>
                      </a:r>
                    </a:p>
                    <a:p>
                      <a:pPr algn="ctr"/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стадия «П»)</a:t>
                      </a:r>
                      <a:endParaRPr lang="ru-RU" sz="120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зработка ПСД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стадия «РД»)</a:t>
                      </a:r>
                    </a:p>
                    <a:p>
                      <a:pPr algn="ctr"/>
                      <a:endParaRPr lang="ru-RU" sz="120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Авансирование СМР </a:t>
                      </a:r>
                    </a:p>
                    <a:p>
                      <a:pPr algn="ctr"/>
                      <a:endParaRPr lang="ru-RU" sz="120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Авансирование  закупки </a:t>
                      </a:r>
                    </a:p>
                    <a:p>
                      <a:pPr algn="ctr"/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орудования</a:t>
                      </a:r>
                      <a:endParaRPr lang="ru-RU" sz="120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плата процентов</a:t>
                      </a:r>
                      <a:r>
                        <a:rPr lang="ru-RU" sz="1200" baseline="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по кредиту на инвестиционной стадии </a:t>
                      </a: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200" dirty="0" err="1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п-ое</a:t>
                      </a:r>
                      <a:r>
                        <a:rPr lang="ru-RU" sz="12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обеспечение</a:t>
                      </a:r>
                      <a:r>
                        <a:rPr lang="ru-RU" sz="12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2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</a:tr>
              <a:tr h="369247"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более 3,9% от стоимости Проекта</a:t>
                      </a:r>
                      <a:endParaRPr lang="ru-RU" sz="9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более</a:t>
                      </a:r>
                      <a:r>
                        <a:rPr lang="ru-RU" sz="9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20% от стоимости Проекта</a:t>
                      </a:r>
                    </a:p>
                    <a:p>
                      <a:pPr algn="ctr"/>
                      <a:endParaRPr lang="ru-RU" sz="9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</a:t>
                      </a:r>
                      <a:r>
                        <a:rPr lang="ru-RU" sz="9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более  6,1% от стоимости Проекта</a:t>
                      </a:r>
                      <a:endParaRPr lang="ru-RU" sz="9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не менее</a:t>
                      </a:r>
                      <a:r>
                        <a:rPr lang="ru-RU" sz="9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15% от сумма проекта</a:t>
                      </a:r>
                      <a:endParaRPr lang="ru-RU" sz="9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3149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5" name="Заголовок 4"/>
          <p:cNvSpPr txBox="1">
            <a:spLocks noGrp="1"/>
          </p:cNvSpPr>
          <p:nvPr>
            <p:ph type="title"/>
          </p:nvPr>
        </p:nvSpPr>
        <p:spPr>
          <a:xfrm>
            <a:off x="785786" y="214290"/>
            <a:ext cx="72509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инципы формирования Попечительского Совета</a:t>
            </a:r>
            <a:endParaRPr lang="ru-RU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107504" y="1196752"/>
          <a:ext cx="8895864" cy="49107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032"/>
                <a:gridCol w="1551049"/>
                <a:gridCol w="864096"/>
                <a:gridCol w="1152128"/>
                <a:gridCol w="1440160"/>
                <a:gridCol w="1224136"/>
                <a:gridCol w="936104"/>
                <a:gridCol w="1440159"/>
              </a:tblGrid>
              <a:tr h="501343">
                <a:tc rowSpan="2">
                  <a:txBody>
                    <a:bodyPr/>
                    <a:lstStyle/>
                    <a:p>
                      <a:pPr algn="ctr"/>
                      <a:endParaRPr lang="ru-RU" sz="12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№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sz="12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Члены</a:t>
                      </a:r>
                      <a:r>
                        <a:rPr lang="ru-RU" sz="12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Попечительского Совета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Требования</a:t>
                      </a:r>
                      <a:r>
                        <a:rPr lang="ru-RU" sz="15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к членам Попечительского Совета</a:t>
                      </a:r>
                      <a:endParaRPr lang="ru-RU" sz="15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endParaRPr lang="ru-RU" sz="15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752015">
                <a:tc vMerge="1">
                  <a:txBody>
                    <a:bodyPr/>
                    <a:lstStyle/>
                    <a:p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err="1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Гос-ное</a:t>
                      </a:r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участие в уставном капитале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раслевая </a:t>
                      </a:r>
                      <a:r>
                        <a:rPr lang="ru-RU" sz="1200" b="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егментация</a:t>
                      </a:r>
                      <a:endParaRPr lang="ru-RU" sz="1200" b="0" kern="12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Территориальная </a:t>
                      </a:r>
                      <a:r>
                        <a:rPr lang="ru-RU" sz="1200" b="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егментация</a:t>
                      </a:r>
                    </a:p>
                    <a:p>
                      <a:pPr algn="ctr"/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инансовая </a:t>
                      </a:r>
                      <a:r>
                        <a:rPr lang="ru-RU" sz="1200" b="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егментация</a:t>
                      </a:r>
                    </a:p>
                    <a:p>
                      <a:pPr algn="ctr"/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err="1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тв-на</a:t>
                      </a:r>
                      <a:r>
                        <a:rPr lang="ru-RU" sz="1200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«Схема» / Форма </a:t>
                      </a:r>
                      <a:r>
                        <a:rPr lang="ru-RU" sz="1200" b="0" baseline="0" dirty="0" err="1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нвест</a:t>
                      </a:r>
                      <a:r>
                        <a:rPr lang="ru-RU" sz="1200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sz="1200" b="0" baseline="0" dirty="0" err="1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г-ия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иняты / Согласованы</a:t>
                      </a:r>
                      <a:r>
                        <a:rPr lang="ru-RU" sz="1200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Особые условия финансирования»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473491"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нвестиционные </a:t>
                      </a:r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онды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гласованы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707766"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инансово – кредитные организации 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тверждены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29002">
                <a:tc gridSpan="8"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ТЕКУЩИЙ СТАТУС</a:t>
                      </a:r>
                      <a:endParaRPr lang="ru-RU" sz="1400" b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29002">
                <a:tc>
                  <a:txBody>
                    <a:bodyPr/>
                    <a:lstStyle/>
                    <a:p>
                      <a:pPr algn="ctr"/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АО «Сбербанк России»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 /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тверждены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45041">
                <a:tc>
                  <a:txBody>
                    <a:bodyPr/>
                    <a:lstStyle/>
                    <a:p>
                      <a:pPr algn="ctr"/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/>
                      <a:r>
                        <a:rPr lang="ru-RU" sz="1200" b="0" i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О «ВТБ</a:t>
                      </a:r>
                      <a:r>
                        <a:rPr lang="ru-RU" sz="1200" b="0" i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Банк»</a:t>
                      </a:r>
                      <a:endParaRPr lang="ru-RU" sz="1200" b="0" i="1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 /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тверждены</a:t>
                      </a:r>
                    </a:p>
                  </a:txBody>
                  <a:tcPr/>
                </a:tc>
              </a:tr>
              <a:tr h="305077">
                <a:tc>
                  <a:txBody>
                    <a:bodyPr/>
                    <a:lstStyle/>
                    <a:p>
                      <a:pPr algn="ctr"/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/>
                      <a:r>
                        <a:rPr lang="ru-RU" sz="1200" b="0" i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АО «Газпромбанк»</a:t>
                      </a:r>
                      <a:endParaRPr lang="ru-RU" sz="1200" b="0" i="1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 / -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- (стадия утверждения)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05077">
                <a:tc>
                  <a:txBody>
                    <a:bodyPr/>
                    <a:lstStyle/>
                    <a:p>
                      <a:pPr algn="ctr"/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/>
                      <a:r>
                        <a:rPr lang="ru-RU" sz="1200" b="0" i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АО «</a:t>
                      </a:r>
                      <a:r>
                        <a:rPr lang="ru-RU" sz="1200" b="0" i="1" dirty="0" err="1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СП-Банк</a:t>
                      </a:r>
                      <a:r>
                        <a:rPr lang="ru-RU" sz="1200" b="0" i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»</a:t>
                      </a:r>
                      <a:endParaRPr lang="ru-RU" sz="1200" b="0" i="1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 - 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- (работа через Банки партнеры)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8380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 txBox="1">
            <a:spLocks noGrp="1"/>
          </p:cNvSpPr>
          <p:nvPr>
            <p:ph type="title"/>
          </p:nvPr>
        </p:nvSpPr>
        <p:spPr>
          <a:xfrm>
            <a:off x="714348" y="142852"/>
            <a:ext cx="7581900" cy="463539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pPr algn="just"/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екущие результаты работы Конкурса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8277001"/>
              </p:ext>
            </p:extLst>
          </p:nvPr>
        </p:nvGraphicFramePr>
        <p:xfrm>
          <a:off x="323528" y="1397000"/>
          <a:ext cx="8496944" cy="302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82738"/>
                <a:gridCol w="3014206"/>
              </a:tblGrid>
              <a:tr h="370840">
                <a:tc>
                  <a:txBody>
                    <a:bodyPr/>
                    <a:lstStyle/>
                    <a:p>
                      <a:r>
                        <a:rPr lang="ru-RU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личество проектов,</a:t>
                      </a:r>
                      <a:r>
                        <a:rPr lang="ru-RU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находящихся на стадии реализации (по подписанным инвестиционным соглашениям)</a:t>
                      </a:r>
                    </a:p>
                    <a:p>
                      <a:pPr algn="r"/>
                      <a:r>
                        <a:rPr lang="ru-RU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 сумму</a:t>
                      </a:r>
                      <a:endParaRPr lang="ru-RU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7</a:t>
                      </a:r>
                    </a:p>
                    <a:p>
                      <a:pPr algn="ctr"/>
                      <a:endParaRPr lang="ru-RU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kern="1200" dirty="0" smtClean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3, 240</a:t>
                      </a:r>
                      <a:r>
                        <a:rPr lang="ru-RU" sz="1800" kern="12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млрд. руб.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kern="1200" baseline="0" dirty="0" smtClean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личество Инвестиционной</a:t>
                      </a:r>
                      <a:r>
                        <a:rPr lang="ru-RU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оглашений, находящихся на стадии согласования </a:t>
                      </a:r>
                    </a:p>
                    <a:p>
                      <a:pPr algn="r"/>
                      <a:r>
                        <a:rPr lang="ru-RU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 сумму</a:t>
                      </a:r>
                      <a:endParaRPr lang="ru-RU" b="1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0</a:t>
                      </a:r>
                    </a:p>
                    <a:p>
                      <a:pPr algn="ctr"/>
                      <a:endParaRPr lang="ru-RU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800" b="1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65,507</a:t>
                      </a:r>
                      <a:r>
                        <a:rPr lang="ru-RU" sz="1800" b="1" kern="12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млрд. руб.</a:t>
                      </a:r>
                      <a:endParaRPr lang="ru-RU" b="1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67545" y="4653136"/>
            <a:ext cx="806489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здана база 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ндустриальных парков 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убъектов РФ</a:t>
            </a:r>
            <a:r>
              <a:rPr lang="en-US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dirty="0" smtClean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en-US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бновляется ежегодно / (обновляется 2 раза в</a:t>
            </a:r>
            <a:r>
              <a:rPr lang="en-US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год)</a:t>
            </a:r>
          </a:p>
          <a:p>
            <a:pPr algn="just"/>
            <a:endParaRPr lang="ru-RU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здана 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база нормативно – правовых актов 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убъектов РФ </a:t>
            </a:r>
          </a:p>
          <a:p>
            <a:pPr algn="just"/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 выделении гос. поддержки 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(обновляется ежегодно / (2 раза в год)</a:t>
            </a:r>
            <a:endParaRPr lang="ru-RU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14282" y="142852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6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8640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95536" y="764704"/>
            <a:ext cx="7992888" cy="5847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Спасибо за внимание</a:t>
            </a:r>
            <a:endParaRPr lang="ru-RU" sz="3200" b="1" u="sng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b="1" u="sng" dirty="0" err="1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Маштакова</a:t>
            </a:r>
            <a:r>
              <a:rPr lang="ru-RU" b="1" u="sng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Мария Юрьевна</a:t>
            </a:r>
            <a:endParaRPr lang="en-US" b="1" u="sng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уководитель </a:t>
            </a:r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тдела анализа инвестиционных </a:t>
            </a:r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роектов </a:t>
            </a: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рганизационный </a:t>
            </a:r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комитет Конкурса </a:t>
            </a:r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"</a:t>
            </a:r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Ежегодная общественная премия «Регионы - устойчивое развитие»</a:t>
            </a: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ел. </a:t>
            </a:r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аб. (495) 236-7-36</a:t>
            </a: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ел. моб. (926) 136-11-12</a:t>
            </a:r>
          </a:p>
          <a:p>
            <a:r>
              <a:rPr lang="en-US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mashtakova@infra-konkurs.ru</a:t>
            </a:r>
            <a:r>
              <a:rPr lang="en-US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r>
              <a:rPr lang="en-US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www.infra-konkurs.ru</a:t>
            </a:r>
          </a:p>
          <a:p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b="1" u="sng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ешетник Мария Сергеевна</a:t>
            </a:r>
          </a:p>
          <a:p>
            <a:endParaRPr lang="en-US" u="sng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АО «Сбербанк России»</a:t>
            </a:r>
          </a:p>
          <a:p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Управление по работе с субъектами РФ</a:t>
            </a:r>
          </a:p>
          <a:p>
            <a:endParaRPr lang="ru-RU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ел.: (495) 957-55-08;  </a:t>
            </a:r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Моб</a:t>
            </a:r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.: (985) 992-68-38</a:t>
            </a:r>
          </a:p>
          <a:p>
            <a:r>
              <a:rPr lang="en-US" u="sng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MSKirpicheva@sberbank.ru</a:t>
            </a:r>
            <a:endParaRPr lang="ru-RU" u="sng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68"/>
          <p:cNvGrpSpPr/>
          <p:nvPr/>
        </p:nvGrpSpPr>
        <p:grpSpPr>
          <a:xfrm>
            <a:off x="107504" y="908720"/>
            <a:ext cx="8540262" cy="5445125"/>
            <a:chOff x="381000" y="1039813"/>
            <a:chExt cx="9251950" cy="5445125"/>
          </a:xfrm>
        </p:grpSpPr>
        <p:sp>
          <p:nvSpPr>
            <p:cNvPr id="4" name="Rectangle 38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2908300" y="6302375"/>
              <a:ext cx="1203325" cy="182563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5" name="Rectangle 39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4311650" y="6302375"/>
              <a:ext cx="5321300" cy="182563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6" name="Rectangle 3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908300" y="5186363"/>
              <a:ext cx="1203325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7" name="Rectangle 3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4311650" y="5186363"/>
              <a:ext cx="5321300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8" name="Rectangle 3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908300" y="4106863"/>
              <a:ext cx="1203325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9" name="Rectangle 34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4311650" y="4106863"/>
              <a:ext cx="5321300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0" name="Rectangle 31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908300" y="2998788"/>
              <a:ext cx="1203325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1" name="Rectangle 32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4311650" y="2998788"/>
              <a:ext cx="5321300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2" name="Rectangle 30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908300" y="1903413"/>
              <a:ext cx="1203325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3" name="Rectangle 29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4311650" y="1903413"/>
              <a:ext cx="5321300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4" name="Прямоугольник 1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4311650" y="1052513"/>
              <a:ext cx="5321300" cy="896937"/>
            </a:xfrm>
            <a:prstGeom prst="rect">
              <a:avLst/>
            </a:prstGeom>
            <a:solidFill>
              <a:srgbClr val="DBFFB4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72000" tIns="36000" rIns="36000" bIns="36000" anchor="ctr"/>
            <a:lstStyle/>
            <a:p>
              <a:pPr algn="just"/>
              <a:r>
                <a:rPr lang="ru-RU" sz="1200" dirty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Если у Вас новый проект и Вы не понимаете начинать ли Вам тратить деньги на разработку ПСД по проекту без наличия решения финансовых институтов о финансировании  Вашего проекта</a:t>
              </a:r>
            </a:p>
          </p:txBody>
        </p:sp>
        <p:sp>
          <p:nvSpPr>
            <p:cNvPr id="15" name="Прямоугольник 13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4311650" y="2154238"/>
              <a:ext cx="5321300" cy="896937"/>
            </a:xfrm>
            <a:prstGeom prst="rect">
              <a:avLst/>
            </a:prstGeom>
            <a:solidFill>
              <a:srgbClr val="DBFFB4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72000" tIns="36000" rIns="36000" bIns="36000" anchor="ctr"/>
            <a:lstStyle/>
            <a:p>
              <a:pPr algn="just"/>
              <a:r>
                <a:rPr lang="ru-RU" sz="1200" dirty="0" smtClean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Вы </a:t>
              </a:r>
              <a:r>
                <a:rPr lang="ru-RU" sz="1200" dirty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не владеете всеми знаниями по требованиям всех участников инвестиционной деятельности для реализации инвестиционного проекта, чтобы им соответствовать </a:t>
              </a:r>
            </a:p>
          </p:txBody>
        </p:sp>
        <p:sp>
          <p:nvSpPr>
            <p:cNvPr id="16" name="Прямоугольник 13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4311650" y="3257550"/>
              <a:ext cx="5321300" cy="896938"/>
            </a:xfrm>
            <a:prstGeom prst="rect">
              <a:avLst/>
            </a:prstGeom>
            <a:solidFill>
              <a:srgbClr val="DBFFB4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72000" tIns="36000" rIns="36000" bIns="36000" anchor="ctr"/>
            <a:lstStyle/>
            <a:p>
              <a:pPr algn="just"/>
              <a:r>
                <a:rPr lang="ru-RU" sz="1200" dirty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Если у Вас нет достаточно собственных средств для реализации инвестиционного проекта и Вам нужен со - инвестор (не доли собственных  средств в размере 30% от суммы проекта)</a:t>
              </a:r>
            </a:p>
          </p:txBody>
        </p:sp>
        <p:sp>
          <p:nvSpPr>
            <p:cNvPr id="17" name="Прямоугольник 13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4311650" y="4360863"/>
              <a:ext cx="5321300" cy="896937"/>
            </a:xfrm>
            <a:prstGeom prst="rect">
              <a:avLst/>
            </a:prstGeom>
            <a:solidFill>
              <a:srgbClr val="DBFFB4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72000" tIns="36000" rIns="36000" bIns="36000" anchor="ctr"/>
            <a:lstStyle/>
            <a:p>
              <a:pPr algn="just"/>
              <a:r>
                <a:rPr lang="ru-RU" sz="1200" dirty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У Вас нет </a:t>
              </a:r>
              <a:r>
                <a:rPr lang="ru-RU" sz="1200" dirty="0" smtClean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опыта </a:t>
              </a:r>
              <a:r>
                <a:rPr lang="ru-RU" sz="1200" dirty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координации всех участников инвестиционной деятельности для реализации инвестиционного проекта (финансовыми институтами (Банками), инвестиционными фондами и органами исполнительной власти)</a:t>
              </a:r>
            </a:p>
          </p:txBody>
        </p:sp>
        <p:sp>
          <p:nvSpPr>
            <p:cNvPr id="18" name="Прямоугольник 1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2908300" y="1052513"/>
              <a:ext cx="1203325" cy="896937"/>
            </a:xfrm>
            <a:prstGeom prst="rect">
              <a:avLst/>
            </a:prstGeom>
            <a:gradFill rotWithShape="1">
              <a:gsLst>
                <a:gs pos="0">
                  <a:srgbClr val="27781D"/>
                </a:gs>
                <a:gs pos="50000">
                  <a:srgbClr val="194C12"/>
                </a:gs>
                <a:gs pos="100000">
                  <a:srgbClr val="27781D"/>
                </a:gs>
              </a:gsLst>
              <a:lin ang="2700000" scaled="1"/>
            </a:gra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  <a:t>Решение банка на ранней стадии проекта</a:t>
              </a: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9" name="Прямоугольник 13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2908300" y="2154238"/>
              <a:ext cx="1264614" cy="896937"/>
            </a:xfrm>
            <a:prstGeom prst="rect">
              <a:avLst/>
            </a:prstGeom>
            <a:gradFill rotWithShape="1">
              <a:gsLst>
                <a:gs pos="0">
                  <a:srgbClr val="27781D"/>
                </a:gs>
                <a:gs pos="50000">
                  <a:srgbClr val="194C12"/>
                </a:gs>
                <a:gs pos="100000">
                  <a:srgbClr val="27781D"/>
                </a:gs>
              </a:gsLst>
              <a:lin ang="2700000" scaled="1"/>
            </a:gra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  <a:t>Методические материалы </a:t>
              </a:r>
            </a:p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kern="0" dirty="0" smtClean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Банк и РУР</a:t>
              </a: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0" name="Прямоугольник 13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2922588" y="4360863"/>
              <a:ext cx="1280838" cy="896937"/>
            </a:xfrm>
            <a:prstGeom prst="rect">
              <a:avLst/>
            </a:prstGeom>
            <a:gradFill rotWithShape="1">
              <a:gsLst>
                <a:gs pos="0">
                  <a:srgbClr val="27781D"/>
                </a:gs>
                <a:gs pos="50000">
                  <a:srgbClr val="194C12"/>
                </a:gs>
                <a:gs pos="100000">
                  <a:srgbClr val="27781D"/>
                </a:gs>
              </a:gsLst>
              <a:lin ang="2700000" scaled="1"/>
            </a:gra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  <a:t>Дорожная карта</a:t>
              </a:r>
            </a:p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kern="0" dirty="0" smtClean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РУР –</a:t>
              </a:r>
            </a:p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kern="0" dirty="0" smtClean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«СБЕРБАНК»</a:t>
              </a: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1" name="Прямоугольник 13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2922588" y="3257550"/>
              <a:ext cx="1328336" cy="896938"/>
            </a:xfrm>
            <a:prstGeom prst="rect">
              <a:avLst/>
            </a:prstGeom>
            <a:gradFill rotWithShape="1">
              <a:gsLst>
                <a:gs pos="0">
                  <a:srgbClr val="27781D"/>
                </a:gs>
                <a:gs pos="50000">
                  <a:srgbClr val="194C12"/>
                </a:gs>
                <a:gs pos="100000">
                  <a:srgbClr val="27781D"/>
                </a:gs>
              </a:gsLst>
              <a:lin ang="2700000" scaled="1"/>
            </a:gra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  <a:t>Согласованный алгоритм работы с со инвестором</a:t>
              </a: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2" name="Прямоугольник 13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2908300" y="5464175"/>
              <a:ext cx="1295125" cy="896938"/>
            </a:xfrm>
            <a:prstGeom prst="rect">
              <a:avLst/>
            </a:prstGeom>
            <a:gradFill rotWithShape="1">
              <a:gsLst>
                <a:gs pos="0">
                  <a:srgbClr val="27781D"/>
                </a:gs>
                <a:gs pos="50000">
                  <a:srgbClr val="194C12"/>
                </a:gs>
                <a:gs pos="100000">
                  <a:srgbClr val="27781D"/>
                </a:gs>
              </a:gsLst>
              <a:lin ang="2700000" scaled="1"/>
            </a:gra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kern="0" dirty="0" smtClean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Справочная информация</a:t>
              </a: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3" name="Прямоугольник 13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4311650" y="5464175"/>
              <a:ext cx="5321300" cy="896938"/>
            </a:xfrm>
            <a:prstGeom prst="rect">
              <a:avLst/>
            </a:prstGeom>
            <a:solidFill>
              <a:srgbClr val="DBFFB4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72000" tIns="36000" rIns="36000" bIns="36000" anchor="ctr"/>
            <a:lstStyle/>
            <a:p>
              <a:pPr algn="just"/>
              <a:r>
                <a:rPr lang="ru-RU" sz="1200" dirty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Если Вы хотите узнать больше о формах государственной поддержки и использовать эти знания для получения финансирования в рамках «Особых условий финансирования инвестиционных проектов с гос. поддержкой / гос. участием» для реализации инвестиционного проекта</a:t>
              </a:r>
            </a:p>
          </p:txBody>
        </p:sp>
        <p:sp>
          <p:nvSpPr>
            <p:cNvPr id="24" name="Прямоугольник 13"/>
            <p:cNvSpPr/>
            <p:nvPr>
              <p:custDataLst>
                <p:tags r:id="rId21"/>
              </p:custDataLst>
            </p:nvPr>
          </p:nvSpPr>
          <p:spPr>
            <a:xfrm>
              <a:off x="512763" y="4914900"/>
              <a:ext cx="2035175" cy="89693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36000" tIns="36000" rIns="36000" bIns="36000" anchor="ctr"/>
            <a:lstStyle/>
            <a:p>
              <a:pPr marL="180975" marR="0" lvl="0" indent="-180975" algn="l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ea typeface="ＭＳ Ｐゴシック" charset="-128"/>
                  <a:cs typeface="Times New Roman" pitchFamily="18" charset="0"/>
                </a:rPr>
                <a:t>Координация</a:t>
              </a: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ＭＳ Ｐゴシック" charset="-128"/>
                <a:cs typeface="Times New Roman" pitchFamily="18" charset="0"/>
              </a:endParaRPr>
            </a:p>
            <a:p>
              <a:pPr marL="180975" marR="0" lvl="0" indent="-180975" algn="l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ea typeface="ＭＳ Ｐゴシック" charset="-128"/>
                  <a:cs typeface="Times New Roman" pitchFamily="18" charset="0"/>
                </a:rPr>
                <a:t>Техническое и методическое сопровождение</a:t>
              </a: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ＭＳ Ｐゴシック" charset="-128"/>
                <a:cs typeface="Times New Roman" pitchFamily="18" charset="0"/>
              </a:endParaRPr>
            </a:p>
          </p:txBody>
        </p:sp>
        <p:sp>
          <p:nvSpPr>
            <p:cNvPr id="25" name="Прямоугольник 13"/>
            <p:cNvSpPr/>
            <p:nvPr>
              <p:custDataLst>
                <p:tags r:id="rId22"/>
              </p:custDataLst>
            </p:nvPr>
          </p:nvSpPr>
          <p:spPr>
            <a:xfrm>
              <a:off x="506506" y="1488530"/>
              <a:ext cx="2174875" cy="896937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36000" tIns="36000" rIns="36000" bIns="36000" anchor="ctr"/>
            <a:lstStyle/>
            <a:p>
              <a:pPr marL="180975" marR="0" lvl="0" indent="-180975" algn="l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 typeface="Wingdings" pitchFamily="2" charset="2"/>
                <a:buChar char="§"/>
                <a:tabLst/>
                <a:defRPr/>
              </a:pPr>
              <a:endPara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ＭＳ Ｐゴシック" charset="-128"/>
                <a:cs typeface="Times New Roman" pitchFamily="18" charset="0"/>
              </a:endParaRPr>
            </a:p>
            <a:p>
              <a:pPr marL="180975" marR="0" lvl="0" indent="-180975" algn="l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lang="ru-RU" sz="1200" kern="0" dirty="0" smtClean="0">
                  <a:solidFill>
                    <a:srgbClr val="000000"/>
                  </a:solidFill>
                  <a:latin typeface="Times New Roman" pitchFamily="18" charset="0"/>
                  <a:ea typeface="ＭＳ Ｐゴシック" charset="-128"/>
                  <a:cs typeface="Times New Roman" pitchFamily="18" charset="0"/>
                </a:rPr>
                <a:t>Сеть</a:t>
              </a:r>
            </a:p>
            <a:p>
              <a:pPr marL="180975" marR="0" lvl="0" indent="-180975" algn="l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ea typeface="ＭＳ Ｐゴシック" charset="-128"/>
                  <a:cs typeface="Times New Roman" pitchFamily="18" charset="0"/>
                </a:rPr>
                <a:t>Экспертиза</a:t>
              </a: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ＭＳ Ｐゴシック" charset="-128"/>
                <a:cs typeface="Times New Roman" pitchFamily="18" charset="0"/>
              </a:endParaRPr>
            </a:p>
            <a:p>
              <a:pPr marL="180975" marR="0" lvl="0" indent="-180975" algn="l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ea typeface="ＭＳ Ｐゴシック" charset="-128"/>
                  <a:cs typeface="Times New Roman" pitchFamily="18" charset="0"/>
                </a:rPr>
                <a:t>Финансовые продукты</a:t>
              </a: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ＭＳ Ｐゴシック" charset="-128"/>
                <a:cs typeface="Times New Roman" pitchFamily="18" charset="0"/>
              </a:endParaRPr>
            </a:p>
            <a:p>
              <a:pPr marL="180975" marR="0" lvl="0" indent="-180975" algn="l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ea typeface="ＭＳ Ｐゴシック" charset="-128"/>
                  <a:cs typeface="Times New Roman" pitchFamily="18" charset="0"/>
                </a:rPr>
                <a:t>Финансирование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ＭＳ Ｐゴシック" charset="-128"/>
                <a:cs typeface="Times New Roman" pitchFamily="18" charset="0"/>
              </a:endParaRPr>
            </a:p>
          </p:txBody>
        </p:sp>
        <p:sp>
          <p:nvSpPr>
            <p:cNvPr id="26" name="Freeform 25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 rot="5400000">
              <a:off x="269082" y="1153319"/>
              <a:ext cx="2563812" cy="2336800"/>
            </a:xfrm>
            <a:custGeom>
              <a:avLst/>
              <a:gdLst>
                <a:gd name="T0" fmla="*/ 2147483647 w 3956"/>
                <a:gd name="T1" fmla="*/ 2147483647 h 3265"/>
                <a:gd name="T2" fmla="*/ 2147483647 w 3956"/>
                <a:gd name="T3" fmla="*/ 2147483647 h 3265"/>
                <a:gd name="T4" fmla="*/ 2147483647 w 3956"/>
                <a:gd name="T5" fmla="*/ 2147483647 h 3265"/>
                <a:gd name="T6" fmla="*/ 2147483647 w 3956"/>
                <a:gd name="T7" fmla="*/ 2147483647 h 3265"/>
                <a:gd name="T8" fmla="*/ 2147483647 w 3956"/>
                <a:gd name="T9" fmla="*/ 0 h 3265"/>
                <a:gd name="T10" fmla="*/ 0 w 3956"/>
                <a:gd name="T11" fmla="*/ 2147483647 h 3265"/>
                <a:gd name="T12" fmla="*/ 2147483647 w 3956"/>
                <a:gd name="T13" fmla="*/ 2147483647 h 3265"/>
                <a:gd name="T14" fmla="*/ 2147483647 w 3956"/>
                <a:gd name="T15" fmla="*/ 2147483647 h 3265"/>
                <a:gd name="T16" fmla="*/ 2147483647 w 3956"/>
                <a:gd name="T17" fmla="*/ 2147483647 h 3265"/>
                <a:gd name="T18" fmla="*/ 2147483647 w 3956"/>
                <a:gd name="T19" fmla="*/ 2147483647 h 3265"/>
                <a:gd name="T20" fmla="*/ 2147483647 w 3956"/>
                <a:gd name="T21" fmla="*/ 2147483647 h 3265"/>
                <a:gd name="T22" fmla="*/ 2147483647 w 3956"/>
                <a:gd name="T23" fmla="*/ 2147483647 h 3265"/>
                <a:gd name="T24" fmla="*/ 2147483647 w 3956"/>
                <a:gd name="T25" fmla="*/ 2147483647 h 3265"/>
                <a:gd name="T26" fmla="*/ 2147483647 w 3956"/>
                <a:gd name="T27" fmla="*/ 2147483647 h 3265"/>
                <a:gd name="T28" fmla="*/ 2147483647 w 3956"/>
                <a:gd name="T29" fmla="*/ 2147483647 h 3265"/>
                <a:gd name="T30" fmla="*/ 2147483647 w 3956"/>
                <a:gd name="T31" fmla="*/ 2147483647 h 3265"/>
                <a:gd name="T32" fmla="*/ 2147483647 w 3956"/>
                <a:gd name="T33" fmla="*/ 2147483647 h 3265"/>
                <a:gd name="T34" fmla="*/ 2147483647 w 3956"/>
                <a:gd name="T35" fmla="*/ 2147483647 h 3265"/>
                <a:gd name="T36" fmla="*/ 2147483647 w 3956"/>
                <a:gd name="T37" fmla="*/ 2147483647 h 32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956"/>
                <a:gd name="T58" fmla="*/ 0 h 3265"/>
                <a:gd name="T59" fmla="*/ 3956 w 3956"/>
                <a:gd name="T60" fmla="*/ 3265 h 326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956" h="3265">
                  <a:moveTo>
                    <a:pt x="3956" y="864"/>
                  </a:moveTo>
                  <a:lnTo>
                    <a:pt x="3582" y="381"/>
                  </a:lnTo>
                  <a:lnTo>
                    <a:pt x="3582" y="505"/>
                  </a:lnTo>
                  <a:lnTo>
                    <a:pt x="3372" y="505"/>
                  </a:lnTo>
                  <a:lnTo>
                    <a:pt x="3481" y="0"/>
                  </a:lnTo>
                  <a:lnTo>
                    <a:pt x="0" y="1"/>
                  </a:lnTo>
                  <a:lnTo>
                    <a:pt x="8" y="3265"/>
                  </a:lnTo>
                  <a:lnTo>
                    <a:pt x="2783" y="3264"/>
                  </a:lnTo>
                  <a:lnTo>
                    <a:pt x="2889" y="2760"/>
                  </a:lnTo>
                  <a:lnTo>
                    <a:pt x="2794" y="2760"/>
                  </a:lnTo>
                  <a:lnTo>
                    <a:pt x="2794" y="2884"/>
                  </a:lnTo>
                  <a:lnTo>
                    <a:pt x="2420" y="2401"/>
                  </a:lnTo>
                  <a:lnTo>
                    <a:pt x="2794" y="1918"/>
                  </a:lnTo>
                  <a:lnTo>
                    <a:pt x="2794" y="2042"/>
                  </a:lnTo>
                  <a:lnTo>
                    <a:pt x="3044" y="2042"/>
                  </a:lnTo>
                  <a:lnTo>
                    <a:pt x="3220" y="1224"/>
                  </a:lnTo>
                  <a:lnTo>
                    <a:pt x="3582" y="1224"/>
                  </a:lnTo>
                  <a:lnTo>
                    <a:pt x="3582" y="1344"/>
                  </a:lnTo>
                  <a:lnTo>
                    <a:pt x="3956" y="864"/>
                  </a:lnTo>
                  <a:close/>
                </a:path>
              </a:pathLst>
            </a:custGeom>
            <a:noFill/>
            <a:ln w="28575" cap="flat" cmpd="sng">
              <a:solidFill>
                <a:srgbClr val="00703C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7" name="Freeform 26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 rot="5400000">
              <a:off x="229394" y="3915569"/>
              <a:ext cx="2641600" cy="2338388"/>
            </a:xfrm>
            <a:custGeom>
              <a:avLst/>
              <a:gdLst>
                <a:gd name="T0" fmla="*/ 2147483647 w 2975"/>
                <a:gd name="T1" fmla="*/ 2147483647 h 3268"/>
                <a:gd name="T2" fmla="*/ 2147483647 w 2975"/>
                <a:gd name="T3" fmla="*/ 2147483647 h 3268"/>
                <a:gd name="T4" fmla="*/ 2147483647 w 2975"/>
                <a:gd name="T5" fmla="*/ 2147483647 h 3268"/>
                <a:gd name="T6" fmla="*/ 2147483647 w 2975"/>
                <a:gd name="T7" fmla="*/ 2147483647 h 3268"/>
                <a:gd name="T8" fmla="*/ 2147483647 w 2975"/>
                <a:gd name="T9" fmla="*/ 2147483647 h 3268"/>
                <a:gd name="T10" fmla="*/ 2147483647 w 2975"/>
                <a:gd name="T11" fmla="*/ 2147483647 h 3268"/>
                <a:gd name="T12" fmla="*/ 2147483647 w 2975"/>
                <a:gd name="T13" fmla="*/ 2147483647 h 3268"/>
                <a:gd name="T14" fmla="*/ 2147483647 w 2975"/>
                <a:gd name="T15" fmla="*/ 2147483647 h 3268"/>
                <a:gd name="T16" fmla="*/ 2147483647 w 2975"/>
                <a:gd name="T17" fmla="*/ 2147483647 h 3268"/>
                <a:gd name="T18" fmla="*/ 2147483647 w 2975"/>
                <a:gd name="T19" fmla="*/ 2147483647 h 3268"/>
                <a:gd name="T20" fmla="*/ 2147483647 w 2975"/>
                <a:gd name="T21" fmla="*/ 2147483647 h 3268"/>
                <a:gd name="T22" fmla="*/ 0 w 2975"/>
                <a:gd name="T23" fmla="*/ 2147483647 h 3268"/>
                <a:gd name="T24" fmla="*/ 2147483647 w 2975"/>
                <a:gd name="T25" fmla="*/ 2147483647 h 3268"/>
                <a:gd name="T26" fmla="*/ 2147483647 w 2975"/>
                <a:gd name="T27" fmla="*/ 2147483647 h 3268"/>
                <a:gd name="T28" fmla="*/ 2147483647 w 2975"/>
                <a:gd name="T29" fmla="*/ 2147483647 h 3268"/>
                <a:gd name="T30" fmla="*/ 2147483647 w 2975"/>
                <a:gd name="T31" fmla="*/ 2147483647 h 3268"/>
                <a:gd name="T32" fmla="*/ 2147483647 w 2975"/>
                <a:gd name="T33" fmla="*/ 2147483647 h 3268"/>
                <a:gd name="T34" fmla="*/ 2147483647 w 2975"/>
                <a:gd name="T35" fmla="*/ 0 h 3268"/>
                <a:gd name="T36" fmla="*/ 2147483647 w 2975"/>
                <a:gd name="T37" fmla="*/ 2147483647 h 326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975"/>
                <a:gd name="T58" fmla="*/ 0 h 3268"/>
                <a:gd name="T59" fmla="*/ 2975 w 2975"/>
                <a:gd name="T60" fmla="*/ 3268 h 326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975" h="3268">
                  <a:moveTo>
                    <a:pt x="1173" y="3"/>
                  </a:moveTo>
                  <a:lnTo>
                    <a:pt x="1064" y="508"/>
                  </a:lnTo>
                  <a:lnTo>
                    <a:pt x="1162" y="508"/>
                  </a:lnTo>
                  <a:lnTo>
                    <a:pt x="1162" y="384"/>
                  </a:lnTo>
                  <a:lnTo>
                    <a:pt x="1536" y="867"/>
                  </a:lnTo>
                  <a:lnTo>
                    <a:pt x="1162" y="1347"/>
                  </a:lnTo>
                  <a:lnTo>
                    <a:pt x="1162" y="1227"/>
                  </a:lnTo>
                  <a:lnTo>
                    <a:pt x="908" y="1227"/>
                  </a:lnTo>
                  <a:lnTo>
                    <a:pt x="733" y="2045"/>
                  </a:lnTo>
                  <a:lnTo>
                    <a:pt x="374" y="2045"/>
                  </a:lnTo>
                  <a:lnTo>
                    <a:pt x="374" y="1921"/>
                  </a:lnTo>
                  <a:lnTo>
                    <a:pt x="0" y="2404"/>
                  </a:lnTo>
                  <a:lnTo>
                    <a:pt x="374" y="2887"/>
                  </a:lnTo>
                  <a:lnTo>
                    <a:pt x="374" y="2763"/>
                  </a:lnTo>
                  <a:lnTo>
                    <a:pt x="581" y="2763"/>
                  </a:lnTo>
                  <a:lnTo>
                    <a:pt x="472" y="3267"/>
                  </a:lnTo>
                  <a:lnTo>
                    <a:pt x="2971" y="3268"/>
                  </a:lnTo>
                  <a:lnTo>
                    <a:pt x="2975" y="0"/>
                  </a:lnTo>
                  <a:lnTo>
                    <a:pt x="1173" y="3"/>
                  </a:lnTo>
                  <a:close/>
                </a:path>
              </a:pathLst>
            </a:custGeom>
            <a:noFill/>
            <a:ln w="28575" cap="flat" cmpd="sng">
              <a:solidFill>
                <a:srgbClr val="00703C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grpSp>
          <p:nvGrpSpPr>
            <p:cNvPr id="28" name="Group 41"/>
            <p:cNvGrpSpPr>
              <a:grpSpLocks/>
            </p:cNvGrpSpPr>
            <p:nvPr/>
          </p:nvGrpSpPr>
          <p:grpSpPr bwMode="auto">
            <a:xfrm>
              <a:off x="492125" y="3179763"/>
              <a:ext cx="2133600" cy="1131887"/>
              <a:chOff x="310" y="2003"/>
              <a:chExt cx="1344" cy="713"/>
            </a:xfrm>
          </p:grpSpPr>
          <p:sp>
            <p:nvSpPr>
              <p:cNvPr id="30" name="Oval 40"/>
              <p:cNvSpPr>
                <a:spLocks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342" y="2035"/>
                <a:ext cx="1312" cy="681"/>
              </a:xfrm>
              <a:prstGeom prst="ellipse">
                <a:avLst/>
              </a:pr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31" name="Oval 29"/>
              <p:cNvSpPr>
                <a:spLocks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310" y="2003"/>
                <a:ext cx="1312" cy="681"/>
              </a:xfrm>
              <a:prstGeom prst="ellipse">
                <a:avLst/>
              </a:prstGeom>
              <a:solidFill>
                <a:srgbClr val="00703C">
                  <a:alpha val="79999"/>
                </a:srgbClr>
              </a:solidFill>
              <a:ln w="349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lIns="0" tIns="36000" rIns="0" bIns="3600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imes New Roman" pitchFamily="18" charset="0"/>
                    <a:cs typeface="Times New Roman" pitchFamily="18" charset="0"/>
                  </a:rPr>
                  <a:t>Программные</a:t>
                </a:r>
                <a:r>
                  <a:rPr kumimoji="0" lang="ru-RU" sz="1200" b="0" i="0" u="none" strike="noStrike" kern="0" cap="none" spc="0" normalizeH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imes New Roman" pitchFamily="18" charset="0"/>
                    <a:cs typeface="Times New Roman" pitchFamily="18" charset="0"/>
                  </a:rPr>
                  <a:t> решения </a:t>
                </a:r>
                <a:endPara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pic>
          <p:nvPicPr>
            <p:cNvPr id="29" name="Рисунок 33" descr="sbpict_sblogo_ru_horizontal_main_20pct.png"/>
            <p:cNvPicPr>
              <a:picLocks noChangeAspect="1"/>
            </p:cNvPicPr>
            <p:nvPr/>
          </p:nvPicPr>
          <p:blipFill>
            <a:blip r:embed="rId28" cstate="print"/>
            <a:srcRect/>
            <a:stretch>
              <a:fillRect/>
            </a:stretch>
          </p:blipFill>
          <p:spPr bwMode="auto">
            <a:xfrm>
              <a:off x="428625" y="1150938"/>
              <a:ext cx="1947863" cy="425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3" name="Rectangle 2"/>
          <p:cNvSpPr txBox="1">
            <a:spLocks noChangeArrowheads="1"/>
          </p:cNvSpPr>
          <p:nvPr/>
        </p:nvSpPr>
        <p:spPr>
          <a:xfrm>
            <a:off x="164982" y="5517232"/>
            <a:ext cx="2606818" cy="648072"/>
          </a:xfrm>
          <a:prstGeom prst="rect">
            <a:avLst/>
          </a:prstGeom>
          <a:ln algn="ctr"/>
        </p:spPr>
        <p:txBody>
          <a:bodyPr vert="horz" lIns="0" tIns="45713" rIns="0" bIns="45713" rtlCol="0" anchor="b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РГКОМИТЕТ</a:t>
            </a:r>
          </a:p>
          <a:p>
            <a:pPr>
              <a:defRPr/>
            </a:pPr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КОНКУРСА</a:t>
            </a:r>
            <a:endParaRPr lang="ru-RU" sz="1600" b="1" dirty="0">
              <a:solidFill>
                <a:schemeClr val="accent6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7504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35" name="Группа 15"/>
          <p:cNvGrpSpPr>
            <a:grpSpLocks/>
          </p:cNvGrpSpPr>
          <p:nvPr/>
        </p:nvGrpSpPr>
        <p:grpSpPr bwMode="auto">
          <a:xfrm>
            <a:off x="179512" y="5661248"/>
            <a:ext cx="535930" cy="575444"/>
            <a:chOff x="5724525" y="2428868"/>
            <a:chExt cx="1150938" cy="1152525"/>
          </a:xfrm>
          <a:solidFill>
            <a:schemeClr val="accent6">
              <a:lumMod val="75000"/>
            </a:schemeClr>
          </a:solidFill>
        </p:grpSpPr>
        <p:sp>
          <p:nvSpPr>
            <p:cNvPr id="36" name="Oval 43"/>
            <p:cNvSpPr>
              <a:spLocks noChangeAspect="1" noChangeArrowheads="1"/>
            </p:cNvSpPr>
            <p:nvPr/>
          </p:nvSpPr>
          <p:spPr bwMode="auto">
            <a:xfrm>
              <a:off x="5724525" y="2428868"/>
              <a:ext cx="1150938" cy="1152525"/>
            </a:xfrm>
            <a:prstGeom prst="ellipse">
              <a:avLst/>
            </a:prstGeom>
            <a:grpFill/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  <p:pic>
          <p:nvPicPr>
            <p:cNvPr id="37" name="Рисунок 34" descr="РФ.png"/>
            <p:cNvPicPr>
              <a:picLocks noChangeAspect="1"/>
            </p:cNvPicPr>
            <p:nvPr/>
          </p:nvPicPr>
          <p:blipFill>
            <a:blip r:embed="rId29" cstate="print">
              <a:lum bright="40000" contrast="16000"/>
            </a:blip>
            <a:srcRect/>
            <a:stretch>
              <a:fillRect/>
            </a:stretch>
          </p:blipFill>
          <p:spPr bwMode="auto">
            <a:xfrm>
              <a:off x="5857884" y="2643182"/>
              <a:ext cx="877888" cy="5397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8" name="Заголовок 1"/>
          <p:cNvSpPr txBox="1">
            <a:spLocks/>
          </p:cNvSpPr>
          <p:nvPr/>
        </p:nvSpPr>
        <p:spPr bwMode="auto">
          <a:xfrm>
            <a:off x="251520" y="5877272"/>
            <a:ext cx="360040" cy="144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+mj-ea"/>
                <a:cs typeface="Arial" charset="0"/>
              </a:rPr>
              <a:t>РУР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с двумя скругленными соседними углами 2"/>
          <p:cNvSpPr/>
          <p:nvPr/>
        </p:nvSpPr>
        <p:spPr>
          <a:xfrm>
            <a:off x="467544" y="1268760"/>
            <a:ext cx="8247860" cy="1014952"/>
          </a:xfrm>
          <a:prstGeom prst="round2SameRect">
            <a:avLst>
              <a:gd name="adj1" fmla="val 9334"/>
              <a:gd name="adj2" fmla="val 0"/>
            </a:avLst>
          </a:prstGeom>
          <a:solidFill>
            <a:srgbClr val="00800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14400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ПРОГРАММА </a:t>
            </a:r>
          </a:p>
          <a:p>
            <a:pPr marL="14400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КОМПЛЕКСНОГО СОПРОВОЖДЕНИЯ И ПОДГОТОВКИ  ПРОЕКТОВ К</a:t>
            </a:r>
          </a:p>
          <a:p>
            <a:pPr marL="14400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ФИНАНСИРОВАНИЮ 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 txBox="1">
            <a:spLocks/>
          </p:cNvSpPr>
          <p:nvPr/>
        </p:nvSpPr>
        <p:spPr>
          <a:xfrm>
            <a:off x="8515350" y="6424613"/>
            <a:ext cx="520700" cy="2651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6D5861D-0E85-4B89-8890-A30BC760EB70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07505" y="2564904"/>
            <a:ext cx="2448272" cy="2088232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ЕДИНЫЙ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СТАНДАРТ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</a:t>
            </a:r>
            <a:r>
              <a:rPr lang="ru-RU" sz="16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бору заявок инвестиционных проектов </a:t>
            </a:r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schemeClr val="tx1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07504" y="4797152"/>
            <a:ext cx="2448272" cy="1988840"/>
          </a:xfrm>
          <a:prstGeom prst="roundRect">
            <a:avLst/>
          </a:prstGeom>
          <a:solidFill>
            <a:schemeClr val="accent6">
              <a:lumMod val="75000"/>
            </a:schemeClr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ПОЗВОЛЯЕТ ОДНОВРЕМЕННО  ПОЛУЧИТЬ:</a:t>
            </a:r>
          </a:p>
          <a:p>
            <a:pPr indent="174625" algn="just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Долговое финансирование</a:t>
            </a:r>
          </a:p>
          <a:p>
            <a:pPr indent="174625" algn="just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Инвестиционное финансирование</a:t>
            </a:r>
          </a:p>
          <a:p>
            <a:pPr indent="174625" algn="just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Государственную  поддержку (региональная/федеральная)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7" name="Группа 15"/>
          <p:cNvGrpSpPr>
            <a:grpSpLocks/>
          </p:cNvGrpSpPr>
          <p:nvPr/>
        </p:nvGrpSpPr>
        <p:grpSpPr bwMode="auto">
          <a:xfrm>
            <a:off x="107504" y="764704"/>
            <a:ext cx="1150937" cy="1152525"/>
            <a:chOff x="3992566" y="3067052"/>
            <a:chExt cx="1150938" cy="1152525"/>
          </a:xfrm>
        </p:grpSpPr>
        <p:sp>
          <p:nvSpPr>
            <p:cNvPr id="8" name="Oval 46"/>
            <p:cNvSpPr>
              <a:spLocks noChangeAspect="1" noChangeArrowheads="1"/>
            </p:cNvSpPr>
            <p:nvPr/>
          </p:nvSpPr>
          <p:spPr bwMode="auto">
            <a:xfrm>
              <a:off x="3992566" y="3067052"/>
              <a:ext cx="1150938" cy="1152525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  <p:pic>
          <p:nvPicPr>
            <p:cNvPr id="9" name="Рисунок 32" descr="logotip_Sberbanka.png"/>
            <p:cNvPicPr>
              <a:picLocks noChangeAspect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135441" y="3211514"/>
              <a:ext cx="877888" cy="854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0" name="Группа 15"/>
          <p:cNvGrpSpPr>
            <a:grpSpLocks/>
          </p:cNvGrpSpPr>
          <p:nvPr/>
        </p:nvGrpSpPr>
        <p:grpSpPr bwMode="auto">
          <a:xfrm>
            <a:off x="8024365" y="908720"/>
            <a:ext cx="1116013" cy="1079500"/>
            <a:chOff x="5724525" y="2428868"/>
            <a:chExt cx="1150938" cy="1152525"/>
          </a:xfrm>
          <a:solidFill>
            <a:schemeClr val="accent6">
              <a:lumMod val="75000"/>
            </a:schemeClr>
          </a:solidFill>
        </p:grpSpPr>
        <p:sp>
          <p:nvSpPr>
            <p:cNvPr id="11" name="Oval 43"/>
            <p:cNvSpPr>
              <a:spLocks noChangeAspect="1" noChangeArrowheads="1"/>
            </p:cNvSpPr>
            <p:nvPr/>
          </p:nvSpPr>
          <p:spPr bwMode="auto">
            <a:xfrm>
              <a:off x="5724525" y="2428868"/>
              <a:ext cx="1150938" cy="1152525"/>
            </a:xfrm>
            <a:prstGeom prst="ellipse">
              <a:avLst/>
            </a:prstGeom>
            <a:grpFill/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  <p:pic>
          <p:nvPicPr>
            <p:cNvPr id="12" name="Рисунок 34" descr="РФ.png"/>
            <p:cNvPicPr>
              <a:picLocks noChangeAspect="1"/>
            </p:cNvPicPr>
            <p:nvPr/>
          </p:nvPicPr>
          <p:blipFill>
            <a:blip r:embed="rId3" cstate="print">
              <a:lum bright="40000" contrast="16000"/>
            </a:blip>
            <a:srcRect/>
            <a:stretch>
              <a:fillRect/>
            </a:stretch>
          </p:blipFill>
          <p:spPr bwMode="auto">
            <a:xfrm>
              <a:off x="5857884" y="2643182"/>
              <a:ext cx="877888" cy="5397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8172127" y="1052736"/>
            <a:ext cx="936104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+mj-ea"/>
                <a:cs typeface="Arial" charset="0"/>
              </a:rPr>
              <a:t/>
            </a:r>
            <a:b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+mj-ea"/>
                <a:cs typeface="Arial" charset="0"/>
              </a:rPr>
            </a:b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+mj-ea"/>
                <a:cs typeface="Arial" charset="0"/>
              </a:rPr>
              <a:t>РУР</a:t>
            </a: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2699792" y="2564904"/>
            <a:ext cx="3528392" cy="2088232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УНИВЕРСАЛЬНЫЙ АЛГОРИТМ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тбора</a:t>
            </a:r>
            <a:r>
              <a:rPr lang="ru-RU" sz="16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, рассмотрения, структурирования и реализации инвестиционных проектов</a:t>
            </a:r>
            <a:r>
              <a:rPr lang="ru-RU" sz="16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,</a:t>
            </a:r>
            <a:endParaRPr lang="ru-RU" sz="1600" dirty="0">
              <a:solidFill>
                <a:schemeClr val="tx1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6300192" y="2564904"/>
            <a:ext cx="2736304" cy="2088232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СПЕЦИАЛЬНЫЙ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ф</a:t>
            </a: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инансовый продукт</a:t>
            </a:r>
            <a:endParaRPr lang="ru-RU" sz="1600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«Особые </a:t>
            </a:r>
            <a:r>
              <a:rPr lang="ru-RU" sz="16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условия финансирования </a:t>
            </a: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инвестиционных </a:t>
            </a:r>
            <a:r>
              <a:rPr lang="ru-RU" sz="16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роектов с государственной </a:t>
            </a: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оддержкой»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1600" dirty="0">
              <a:solidFill>
                <a:srgbClr val="000000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699792" y="4725144"/>
            <a:ext cx="3528392" cy="2016224"/>
          </a:xfrm>
          <a:prstGeom prst="roundRect">
            <a:avLst/>
          </a:prstGeom>
          <a:solidFill>
            <a:schemeClr val="accent6">
              <a:lumMod val="75000"/>
            </a:schemeClr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300" dirty="0" smtClean="0"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СТАНДАРТИЗИРУЕТ ПРОЕКТЫ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 ПОД ТРЕБОВАНИЯ:</a:t>
            </a:r>
          </a:p>
          <a:p>
            <a:pPr indent="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Финансово-кредитных организаций</a:t>
            </a:r>
          </a:p>
          <a:p>
            <a:pPr indent="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Инвестиционных фондов</a:t>
            </a:r>
          </a:p>
          <a:p>
            <a:pPr indent="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Субъектов РФ (региональных программ) Федеральных целевых и государственных программ</a:t>
            </a:r>
          </a:p>
          <a:p>
            <a:pPr indent="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Страховых компаний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300" dirty="0" smtClean="0">
              <a:latin typeface="Times New Roman" pitchFamily="18" charset="0"/>
              <a:cs typeface="Times New Roman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6300192" y="4725144"/>
            <a:ext cx="2736304" cy="1980568"/>
          </a:xfrm>
          <a:prstGeom prst="roundRect">
            <a:avLst/>
          </a:prstGeom>
          <a:solidFill>
            <a:schemeClr val="accent6">
              <a:lumMod val="75000"/>
            </a:schemeClr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ДАЕТ ВОЗМОЖНОСТЬ:</a:t>
            </a:r>
          </a:p>
          <a:p>
            <a:pPr indent="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Получить финансирование по  более низкой  ставке</a:t>
            </a:r>
          </a:p>
          <a:p>
            <a:pPr indent="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Увеличить сроки кредитования</a:t>
            </a:r>
          </a:p>
          <a:p>
            <a:pPr indent="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Упростить сбор документов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07504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Oval 42"/>
          <p:cNvSpPr>
            <a:spLocks noChangeAspect="1" noChangeArrowheads="1"/>
          </p:cNvSpPr>
          <p:nvPr/>
        </p:nvSpPr>
        <p:spPr bwMode="auto">
          <a:xfrm>
            <a:off x="6372200" y="2780928"/>
            <a:ext cx="1150938" cy="1152526"/>
          </a:xfrm>
          <a:prstGeom prst="ellipse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23" name="TextBox 22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Line 64"/>
          <p:cNvSpPr>
            <a:spLocks noChangeShapeType="1"/>
          </p:cNvSpPr>
          <p:nvPr/>
        </p:nvSpPr>
        <p:spPr bwMode="auto">
          <a:xfrm>
            <a:off x="4499992" y="1772816"/>
            <a:ext cx="0" cy="108012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" name="Line 64"/>
          <p:cNvSpPr>
            <a:spLocks noChangeShapeType="1"/>
          </p:cNvSpPr>
          <p:nvPr/>
        </p:nvSpPr>
        <p:spPr bwMode="auto">
          <a:xfrm flipH="1">
            <a:off x="3059832" y="1988840"/>
            <a:ext cx="3168351" cy="316835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Line 65"/>
          <p:cNvSpPr>
            <a:spLocks noChangeShapeType="1"/>
          </p:cNvSpPr>
          <p:nvPr/>
        </p:nvSpPr>
        <p:spPr bwMode="auto">
          <a:xfrm flipH="1" flipV="1">
            <a:off x="3059832" y="1916832"/>
            <a:ext cx="2808311" cy="309634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7" name="Line 66"/>
          <p:cNvSpPr>
            <a:spLocks noChangeShapeType="1"/>
          </p:cNvSpPr>
          <p:nvPr/>
        </p:nvSpPr>
        <p:spPr bwMode="auto">
          <a:xfrm flipH="1" flipV="1">
            <a:off x="2700338" y="3424238"/>
            <a:ext cx="36004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8" name="Прямоугольник 52"/>
          <p:cNvSpPr>
            <a:spLocks noChangeArrowheads="1"/>
          </p:cNvSpPr>
          <p:nvPr/>
        </p:nvSpPr>
        <p:spPr bwMode="auto">
          <a:xfrm>
            <a:off x="3851920" y="3861048"/>
            <a:ext cx="1435100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57263">
              <a:lnSpc>
                <a:spcPct val="95000"/>
              </a:lnSpc>
              <a:spcAft>
                <a:spcPts val="600"/>
              </a:spcAft>
            </a:pPr>
            <a:r>
              <a:rPr lang="ru-RU" sz="1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Координатор</a:t>
            </a:r>
          </a:p>
        </p:txBody>
      </p:sp>
      <p:sp>
        <p:nvSpPr>
          <p:cNvPr id="29" name="Oval 42"/>
          <p:cNvSpPr>
            <a:spLocks noChangeAspect="1" noChangeArrowheads="1"/>
          </p:cNvSpPr>
          <p:nvPr/>
        </p:nvSpPr>
        <p:spPr bwMode="auto">
          <a:xfrm>
            <a:off x="1763688" y="2996952"/>
            <a:ext cx="1150938" cy="1152526"/>
          </a:xfrm>
          <a:prstGeom prst="ellipse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0" name="Прямоугольник 22"/>
          <p:cNvSpPr>
            <a:spLocks noChangeArrowheads="1"/>
          </p:cNvSpPr>
          <p:nvPr/>
        </p:nvSpPr>
        <p:spPr bwMode="auto">
          <a:xfrm>
            <a:off x="7452320" y="2996952"/>
            <a:ext cx="1625600" cy="708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57263">
              <a:lnSpc>
                <a:spcPct val="95000"/>
              </a:lnSpc>
              <a:spcAft>
                <a:spcPts val="600"/>
              </a:spcAft>
            </a:pPr>
            <a:r>
              <a:rPr lang="ru-RU" sz="14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Субъекты РФ и муниципальные образования</a:t>
            </a:r>
            <a:endParaRPr lang="ru-RU" sz="1400" dirty="0">
              <a:solidFill>
                <a:srgbClr val="984807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1" name="Oval 41"/>
          <p:cNvSpPr>
            <a:spLocks noChangeAspect="1" noChangeArrowheads="1"/>
          </p:cNvSpPr>
          <p:nvPr/>
        </p:nvSpPr>
        <p:spPr bwMode="auto">
          <a:xfrm>
            <a:off x="5940152" y="1196752"/>
            <a:ext cx="1151110" cy="1152700"/>
          </a:xfrm>
          <a:prstGeom prst="ellipse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2" name="Рисунок 33" descr="1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56176" y="1340768"/>
            <a:ext cx="793251" cy="85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Группа 56"/>
          <p:cNvGrpSpPr>
            <a:grpSpLocks/>
          </p:cNvGrpSpPr>
          <p:nvPr/>
        </p:nvGrpSpPr>
        <p:grpSpPr bwMode="auto">
          <a:xfrm>
            <a:off x="3923928" y="2852936"/>
            <a:ext cx="1150938" cy="1152525"/>
            <a:chOff x="5724525" y="2428868"/>
            <a:chExt cx="1150938" cy="1152525"/>
          </a:xfrm>
          <a:solidFill>
            <a:schemeClr val="accent6">
              <a:lumMod val="75000"/>
            </a:schemeClr>
          </a:solidFill>
        </p:grpSpPr>
        <p:sp>
          <p:nvSpPr>
            <p:cNvPr id="34" name="Oval 43"/>
            <p:cNvSpPr>
              <a:spLocks noChangeAspect="1" noChangeArrowheads="1"/>
            </p:cNvSpPr>
            <p:nvPr/>
          </p:nvSpPr>
          <p:spPr bwMode="auto">
            <a:xfrm>
              <a:off x="5724525" y="2428868"/>
              <a:ext cx="1150938" cy="1152525"/>
            </a:xfrm>
            <a:prstGeom prst="ellipse">
              <a:avLst/>
            </a:prstGeom>
            <a:grpFill/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pic>
          <p:nvPicPr>
            <p:cNvPr id="35" name="Рисунок 34" descr="РФ.png"/>
            <p:cNvPicPr>
              <a:picLocks noChangeAspect="1"/>
            </p:cNvPicPr>
            <p:nvPr/>
          </p:nvPicPr>
          <p:blipFill>
            <a:blip r:embed="rId3" cstate="print">
              <a:lum bright="40000" contrast="16000"/>
            </a:blip>
            <a:srcRect/>
            <a:stretch>
              <a:fillRect/>
            </a:stretch>
          </p:blipFill>
          <p:spPr bwMode="auto">
            <a:xfrm>
              <a:off x="5857884" y="2643182"/>
              <a:ext cx="877888" cy="5397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" name="Группа 53"/>
          <p:cNvGrpSpPr>
            <a:grpSpLocks/>
          </p:cNvGrpSpPr>
          <p:nvPr/>
        </p:nvGrpSpPr>
        <p:grpSpPr bwMode="auto">
          <a:xfrm>
            <a:off x="5508104" y="4581128"/>
            <a:ext cx="1150937" cy="1152525"/>
            <a:chOff x="5357818" y="4572008"/>
            <a:chExt cx="1150937" cy="1152525"/>
          </a:xfrm>
        </p:grpSpPr>
        <p:sp>
          <p:nvSpPr>
            <p:cNvPr id="37" name="Oval 44"/>
            <p:cNvSpPr>
              <a:spLocks noChangeAspect="1" noChangeArrowheads="1"/>
            </p:cNvSpPr>
            <p:nvPr/>
          </p:nvSpPr>
          <p:spPr bwMode="auto">
            <a:xfrm>
              <a:off x="5357818" y="4572008"/>
              <a:ext cx="1150937" cy="1152525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pic>
          <p:nvPicPr>
            <p:cNvPr id="38" name="Рисунок 35" descr="население.png"/>
            <p:cNvPicPr>
              <a:picLocks noChangeAspect="1"/>
            </p:cNvPicPr>
            <p:nvPr/>
          </p:nvPicPr>
          <p:blipFill>
            <a:blip r:embed="rId4" cstate="print">
              <a:lum contrast="-10000"/>
            </a:blip>
            <a:srcRect/>
            <a:stretch>
              <a:fillRect/>
            </a:stretch>
          </p:blipFill>
          <p:spPr bwMode="auto">
            <a:xfrm>
              <a:off x="5643570" y="4857760"/>
              <a:ext cx="627063" cy="552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5" name="Группа 54"/>
          <p:cNvGrpSpPr>
            <a:grpSpLocks/>
          </p:cNvGrpSpPr>
          <p:nvPr/>
        </p:nvGrpSpPr>
        <p:grpSpPr bwMode="auto">
          <a:xfrm>
            <a:off x="2483768" y="4581128"/>
            <a:ext cx="1150937" cy="1152525"/>
            <a:chOff x="2555875" y="4572008"/>
            <a:chExt cx="1150938" cy="1152525"/>
          </a:xfrm>
        </p:grpSpPr>
        <p:sp>
          <p:nvSpPr>
            <p:cNvPr id="40" name="Oval 45"/>
            <p:cNvSpPr>
              <a:spLocks noChangeAspect="1" noChangeArrowheads="1"/>
            </p:cNvSpPr>
            <p:nvPr/>
          </p:nvSpPr>
          <p:spPr bwMode="auto">
            <a:xfrm>
              <a:off x="2555875" y="4572008"/>
              <a:ext cx="1150938" cy="1152525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pic>
          <p:nvPicPr>
            <p:cNvPr id="41" name="Рисунок 36" descr="michaeldb081100031.png"/>
            <p:cNvPicPr>
              <a:picLocks noChangeAspect="1"/>
            </p:cNvPicPr>
            <p:nvPr/>
          </p:nvPicPr>
          <p:blipFill>
            <a:blip r:embed="rId5" cstate="print">
              <a:lum contrast="-10000"/>
            </a:blip>
            <a:stretch>
              <a:fillRect/>
            </a:stretch>
          </p:blipFill>
          <p:spPr>
            <a:xfrm>
              <a:off x="2643174" y="4786322"/>
              <a:ext cx="977355" cy="674841"/>
            </a:xfrm>
            <a:prstGeom prst="ellipse">
              <a:avLst/>
            </a:prstGeom>
          </p:spPr>
        </p:pic>
      </p:grpSp>
      <p:grpSp>
        <p:nvGrpSpPr>
          <p:cNvPr id="6" name="Группа 37"/>
          <p:cNvGrpSpPr>
            <a:grpSpLocks/>
          </p:cNvGrpSpPr>
          <p:nvPr/>
        </p:nvGrpSpPr>
        <p:grpSpPr bwMode="auto">
          <a:xfrm>
            <a:off x="1907704" y="3284984"/>
            <a:ext cx="825500" cy="503238"/>
            <a:chOff x="2643174" y="2856709"/>
            <a:chExt cx="824480" cy="502125"/>
          </a:xfrm>
        </p:grpSpPr>
        <p:grpSp>
          <p:nvGrpSpPr>
            <p:cNvPr id="7" name="Группа 36"/>
            <p:cNvGrpSpPr>
              <a:grpSpLocks/>
            </p:cNvGrpSpPr>
            <p:nvPr/>
          </p:nvGrpSpPr>
          <p:grpSpPr bwMode="auto">
            <a:xfrm>
              <a:off x="2652699" y="3071805"/>
              <a:ext cx="814955" cy="287023"/>
              <a:chOff x="2652699" y="2854834"/>
              <a:chExt cx="814955" cy="504000"/>
            </a:xfrm>
          </p:grpSpPr>
          <p:sp>
            <p:nvSpPr>
              <p:cNvPr id="49" name="Прямоугольник 48"/>
              <p:cNvSpPr/>
              <p:nvPr/>
            </p:nvSpPr>
            <p:spPr>
              <a:xfrm>
                <a:off x="2652687" y="3141894"/>
                <a:ext cx="71349" cy="21695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2776359" y="3072358"/>
                <a:ext cx="72935" cy="28648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51" name="Прямоугольник 46"/>
              <p:cNvSpPr/>
              <p:nvPr/>
            </p:nvSpPr>
            <p:spPr>
              <a:xfrm>
                <a:off x="2900031" y="2963883"/>
                <a:ext cx="72935" cy="39496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3023703" y="2963883"/>
                <a:ext cx="72935" cy="39496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3147375" y="2855407"/>
                <a:ext cx="72935" cy="5034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3271047" y="2891566"/>
                <a:ext cx="72935" cy="46727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3396304" y="3036200"/>
                <a:ext cx="71350" cy="322645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cxnSp>
          <p:nvCxnSpPr>
            <p:cNvPr id="44" name="Прямая соединительная линия 43"/>
            <p:cNvCxnSpPr/>
            <p:nvPr/>
          </p:nvCxnSpPr>
          <p:spPr>
            <a:xfrm rot="5400000" flipH="1" flipV="1">
              <a:off x="2643244" y="2961183"/>
              <a:ext cx="142559" cy="142698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Прямая соединительная линия 44"/>
            <p:cNvCxnSpPr/>
            <p:nvPr/>
          </p:nvCxnSpPr>
          <p:spPr>
            <a:xfrm>
              <a:off x="2770017" y="2969173"/>
              <a:ext cx="142698" cy="71279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Прямая соединительная линия 45"/>
            <p:cNvCxnSpPr/>
            <p:nvPr/>
          </p:nvCxnSpPr>
          <p:spPr>
            <a:xfrm flipV="1">
              <a:off x="2888932" y="2888389"/>
              <a:ext cx="182337" cy="159983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Прямая соединительная линия 46"/>
            <p:cNvCxnSpPr/>
            <p:nvPr/>
          </p:nvCxnSpPr>
          <p:spPr>
            <a:xfrm rot="16200000" flipH="1">
              <a:off x="3048330" y="2897058"/>
              <a:ext cx="106128" cy="88790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Прямая соединительная линия 47"/>
            <p:cNvCxnSpPr/>
            <p:nvPr/>
          </p:nvCxnSpPr>
          <p:spPr>
            <a:xfrm flipV="1">
              <a:off x="3136276" y="2856709"/>
              <a:ext cx="309180" cy="118800"/>
            </a:xfrm>
            <a:prstGeom prst="line">
              <a:avLst/>
            </a:prstGeom>
            <a:ln w="3810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Группа 55"/>
          <p:cNvGrpSpPr>
            <a:grpSpLocks/>
          </p:cNvGrpSpPr>
          <p:nvPr/>
        </p:nvGrpSpPr>
        <p:grpSpPr bwMode="auto">
          <a:xfrm>
            <a:off x="2123728" y="1196752"/>
            <a:ext cx="1150937" cy="1152525"/>
            <a:chOff x="3992566" y="3067052"/>
            <a:chExt cx="1150938" cy="1152525"/>
          </a:xfrm>
        </p:grpSpPr>
        <p:sp>
          <p:nvSpPr>
            <p:cNvPr id="57" name="Oval 46"/>
            <p:cNvSpPr>
              <a:spLocks noChangeAspect="1" noChangeArrowheads="1"/>
            </p:cNvSpPr>
            <p:nvPr/>
          </p:nvSpPr>
          <p:spPr bwMode="auto">
            <a:xfrm>
              <a:off x="3992566" y="3067052"/>
              <a:ext cx="1150938" cy="1152525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pic>
          <p:nvPicPr>
            <p:cNvPr id="58" name="Рисунок 32" descr="logotip_Sberbanka.png"/>
            <p:cNvPicPr>
              <a:picLocks noChangeAspect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135441" y="3211514"/>
              <a:ext cx="877888" cy="854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60" name="Oval 44"/>
          <p:cNvSpPr>
            <a:spLocks noChangeAspect="1" noChangeArrowheads="1"/>
          </p:cNvSpPr>
          <p:nvPr/>
        </p:nvSpPr>
        <p:spPr bwMode="auto">
          <a:xfrm>
            <a:off x="3635896" y="836712"/>
            <a:ext cx="1800200" cy="1360609"/>
          </a:xfrm>
          <a:prstGeom prst="ellipse">
            <a:avLst/>
          </a:prstGeom>
          <a:solidFill>
            <a:srgbClr val="009900"/>
          </a:solidFill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3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НИЦИАТОР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екта</a:t>
            </a:r>
            <a:endParaRPr lang="ru-RU" sz="13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1" name="Прямоугольник 17"/>
          <p:cNvSpPr>
            <a:spLocks noChangeArrowheads="1"/>
          </p:cNvSpPr>
          <p:nvPr/>
        </p:nvSpPr>
        <p:spPr bwMode="auto">
          <a:xfrm>
            <a:off x="323528" y="4725144"/>
            <a:ext cx="2232248" cy="1734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defTabSz="957263">
              <a:lnSpc>
                <a:spcPct val="95000"/>
              </a:lnSpc>
              <a:spcAft>
                <a:spcPts val="600"/>
              </a:spcAft>
            </a:pPr>
            <a:r>
              <a:rPr lang="ru-RU" sz="14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Поставщики услуг</a:t>
            </a:r>
          </a:p>
          <a:p>
            <a:pPr indent="180975" defTabSz="957263">
              <a:lnSpc>
                <a:spcPct val="95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Технический заказчик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180975" defTabSz="957263">
              <a:lnSpc>
                <a:spcPct val="95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Строительные компании 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180975" defTabSz="957263">
              <a:lnSpc>
                <a:spcPct val="95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оставщики оборудования 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180975" defTabSz="957263">
              <a:lnSpc>
                <a:spcPct val="95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роектные институты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180975" defTabSz="957263">
              <a:lnSpc>
                <a:spcPct val="95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Страховые компании</a:t>
            </a:r>
          </a:p>
        </p:txBody>
      </p:sp>
      <p:sp>
        <p:nvSpPr>
          <p:cNvPr id="62" name="Прямоугольник 31"/>
          <p:cNvSpPr>
            <a:spLocks noChangeArrowheads="1"/>
          </p:cNvSpPr>
          <p:nvPr/>
        </p:nvSpPr>
        <p:spPr bwMode="auto">
          <a:xfrm>
            <a:off x="6732240" y="4797152"/>
            <a:ext cx="2411760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57263">
              <a:lnSpc>
                <a:spcPct val="95000"/>
              </a:lnSpc>
              <a:spcAft>
                <a:spcPts val="600"/>
              </a:spcAft>
            </a:pP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бщественные организации</a:t>
            </a:r>
            <a:endParaRPr lang="ru-RU" sz="1200" b="1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180975" defTabSz="957263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«Союз Промышленников и Предпринимателей»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180975" defTabSz="957263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АСИ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180975" defTabSz="957263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«Деловая России»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180975" defTabSz="957263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Экспертные сообщества</a:t>
            </a:r>
          </a:p>
          <a:p>
            <a:pPr defTabSz="957263">
              <a:lnSpc>
                <a:spcPct val="95000"/>
              </a:lnSpc>
              <a:spcAft>
                <a:spcPts val="600"/>
              </a:spcAft>
            </a:pPr>
            <a:endParaRPr lang="ru-RU" sz="1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179512" y="2924944"/>
            <a:ext cx="1493466" cy="10662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57263" fontAlgn="auto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4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Инвесторы</a:t>
            </a:r>
          </a:p>
          <a:p>
            <a:pPr algn="r" defTabSz="957263" fontAlgn="auto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05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Российские и иностранные ИНВЕСТФОНДЫ</a:t>
            </a:r>
          </a:p>
          <a:p>
            <a:pPr algn="r" defTabSz="957263" fontAlgn="auto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defRPr/>
            </a:pPr>
            <a:endParaRPr lang="ru-RU" sz="105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7092280" y="1196752"/>
            <a:ext cx="1656184" cy="9367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57263" fontAlgn="auto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4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Федеральные министерства   и ведомства </a:t>
            </a:r>
          </a:p>
          <a:p>
            <a:pPr defTabSz="957263" fontAlgn="auto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defRPr/>
            </a:pPr>
            <a:endParaRPr lang="ru-RU" sz="1050" dirty="0">
              <a:solidFill>
                <a:srgbClr val="984807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5" name="Прямоугольник 16"/>
          <p:cNvSpPr>
            <a:spLocks noChangeArrowheads="1"/>
          </p:cNvSpPr>
          <p:nvPr/>
        </p:nvSpPr>
        <p:spPr bwMode="auto">
          <a:xfrm>
            <a:off x="539552" y="1268761"/>
            <a:ext cx="1440160" cy="929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defTabSz="957263">
              <a:lnSpc>
                <a:spcPct val="95000"/>
              </a:lnSpc>
              <a:spcAft>
                <a:spcPts val="600"/>
              </a:spcAft>
            </a:pPr>
            <a:r>
              <a:rPr lang="ru-RU" sz="14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Финансовые институты</a:t>
            </a:r>
          </a:p>
          <a:p>
            <a:pPr algn="r" defTabSz="957263">
              <a:lnSpc>
                <a:spcPct val="95000"/>
              </a:lnSpc>
              <a:spcAft>
                <a:spcPts val="600"/>
              </a:spcAft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Банки с госучастием</a:t>
            </a:r>
          </a:p>
        </p:txBody>
      </p:sp>
      <p:sp>
        <p:nvSpPr>
          <p:cNvPr id="66" name="Заголовок 1"/>
          <p:cNvSpPr txBox="1">
            <a:spLocks/>
          </p:cNvSpPr>
          <p:nvPr/>
        </p:nvSpPr>
        <p:spPr bwMode="auto">
          <a:xfrm>
            <a:off x="4139952" y="2996952"/>
            <a:ext cx="936104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/>
            </a:r>
            <a:b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</a:b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РУР</a:t>
            </a:r>
          </a:p>
        </p:txBody>
      </p:sp>
      <p:sp>
        <p:nvSpPr>
          <p:cNvPr id="67" name="Заголовок 1"/>
          <p:cNvSpPr>
            <a:spLocks noGrp="1"/>
          </p:cNvSpPr>
          <p:nvPr>
            <p:ph type="title"/>
          </p:nvPr>
        </p:nvSpPr>
        <p:spPr>
          <a:xfrm>
            <a:off x="755576" y="188640"/>
            <a:ext cx="7848327" cy="432048"/>
          </a:xfrm>
        </p:spPr>
        <p:txBody>
          <a:bodyPr>
            <a:noAutofit/>
          </a:bodyPr>
          <a:lstStyle/>
          <a:p>
            <a:pPr eaLnBrk="1" hangingPunct="1">
              <a:lnSpc>
                <a:spcPct val="80000"/>
              </a:lnSpc>
            </a:pPr>
            <a:r>
              <a:rPr lang="ru-RU" sz="16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оординация основных участников </a:t>
            </a:r>
            <a:r>
              <a:rPr lang="ru-RU" sz="1600" dirty="0" err="1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нвестпроце</a:t>
            </a:r>
            <a:r>
              <a:rPr lang="en-US" sz="16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c</a:t>
            </a:r>
            <a:r>
              <a:rPr lang="ru-RU" sz="1600" dirty="0" err="1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а</a:t>
            </a:r>
            <a:r>
              <a:rPr lang="ru-RU" sz="16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pic>
        <p:nvPicPr>
          <p:cNvPr id="68" name="Picture 2" descr="C:\Program Files\Microsoft Office\MEDIA\CAGCAT10\j0205462.wmf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588224" y="2852936"/>
            <a:ext cx="792088" cy="1080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71209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2627784" y="1412776"/>
            <a:ext cx="3904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Заявки Инвестиционных проектов </a:t>
            </a:r>
            <a:endParaRPr lang="ru-RU" b="1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87624" y="1844824"/>
            <a:ext cx="6840760" cy="58477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Первичный анализ юр. лица для соответствие государственных программ и ФЦП</a:t>
            </a:r>
            <a:endParaRPr lang="ru-RU" sz="1600" b="1" dirty="0">
              <a:solidFill>
                <a:srgbClr val="4F622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87624" y="2492896"/>
            <a:ext cx="6840760" cy="58477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Рассмотрение проекта на инвестиционном комитете </a:t>
            </a:r>
          </a:p>
          <a:p>
            <a:pPr algn="ctr"/>
            <a:r>
              <a:rPr lang="ru-RU" sz="1600" b="1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(решение инвестора)</a:t>
            </a:r>
            <a:endParaRPr lang="ru-RU" sz="1600" b="1" dirty="0">
              <a:solidFill>
                <a:srgbClr val="4F622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187624" y="3140968"/>
            <a:ext cx="6840760" cy="58477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Рассмотрение проекта на комитете Банка </a:t>
            </a:r>
          </a:p>
          <a:p>
            <a:pPr algn="ctr"/>
            <a:r>
              <a:rPr lang="ru-RU" sz="1600" b="1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(внешнего эксперта по финансам)</a:t>
            </a:r>
            <a:endParaRPr lang="ru-RU" sz="1600" b="1" dirty="0">
              <a:solidFill>
                <a:srgbClr val="4F622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187624" y="3789040"/>
            <a:ext cx="6840760" cy="33855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Рассмотрение проекта Субъектом РФ</a:t>
            </a:r>
            <a:endParaRPr lang="en-US" sz="1600" b="1" dirty="0" smtClean="0">
              <a:solidFill>
                <a:srgbClr val="4F622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187624" y="4170566"/>
            <a:ext cx="6840760" cy="33855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Рассмотрение проекта на заседании Попечительского совета</a:t>
            </a:r>
            <a:endParaRPr lang="ru-RU" sz="1600" b="1" dirty="0">
              <a:solidFill>
                <a:srgbClr val="4F622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843808" y="764704"/>
            <a:ext cx="3456384" cy="4001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1">
                <a:shade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ргкомитет Конкурса</a:t>
            </a:r>
            <a:endParaRPr lang="ru-RU" sz="20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8" name="Стрелка вниз 37"/>
          <p:cNvSpPr/>
          <p:nvPr/>
        </p:nvSpPr>
        <p:spPr>
          <a:xfrm>
            <a:off x="3995936" y="4509119"/>
            <a:ext cx="936104" cy="217765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2" name="TextBox 51"/>
          <p:cNvSpPr txBox="1"/>
          <p:nvPr/>
        </p:nvSpPr>
        <p:spPr>
          <a:xfrm>
            <a:off x="971600" y="4654877"/>
            <a:ext cx="685536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еализация инвестиционных проектов по механизму</a:t>
            </a:r>
          </a:p>
          <a:p>
            <a:pPr algn="ctr"/>
            <a:r>
              <a:rPr lang="ru-RU" b="1" u="sng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«Особые условия финансирования инвестиционных проектов»</a:t>
            </a:r>
            <a:endParaRPr lang="ru-RU" b="1" u="sng" dirty="0">
              <a:solidFill>
                <a:schemeClr val="accent6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7" name="Стрелка вниз 66"/>
          <p:cNvSpPr/>
          <p:nvPr/>
        </p:nvSpPr>
        <p:spPr>
          <a:xfrm>
            <a:off x="755576" y="1630541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8" name="Стрелка вниз 67"/>
          <p:cNvSpPr/>
          <p:nvPr/>
        </p:nvSpPr>
        <p:spPr>
          <a:xfrm>
            <a:off x="755576" y="2350621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9" name="Стрелка вниз 68"/>
          <p:cNvSpPr/>
          <p:nvPr/>
        </p:nvSpPr>
        <p:spPr>
          <a:xfrm>
            <a:off x="755576" y="2998693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0" name="Стрелка вниз 69"/>
          <p:cNvSpPr/>
          <p:nvPr/>
        </p:nvSpPr>
        <p:spPr>
          <a:xfrm>
            <a:off x="827584" y="4366845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1" name="Стрелка вниз 70"/>
          <p:cNvSpPr/>
          <p:nvPr/>
        </p:nvSpPr>
        <p:spPr>
          <a:xfrm>
            <a:off x="755576" y="3646765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2" name="Стрелка вниз 71"/>
          <p:cNvSpPr/>
          <p:nvPr/>
        </p:nvSpPr>
        <p:spPr>
          <a:xfrm>
            <a:off x="8172400" y="1630541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3" name="Стрелка вниз 72"/>
          <p:cNvSpPr/>
          <p:nvPr/>
        </p:nvSpPr>
        <p:spPr>
          <a:xfrm>
            <a:off x="8172400" y="2206605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4" name="Стрелка вниз 73"/>
          <p:cNvSpPr/>
          <p:nvPr/>
        </p:nvSpPr>
        <p:spPr>
          <a:xfrm>
            <a:off x="8172400" y="2782669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5" name="Стрелка вниз 74"/>
          <p:cNvSpPr/>
          <p:nvPr/>
        </p:nvSpPr>
        <p:spPr>
          <a:xfrm>
            <a:off x="8172400" y="4150821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6" name="Стрелка вниз 75"/>
          <p:cNvSpPr/>
          <p:nvPr/>
        </p:nvSpPr>
        <p:spPr>
          <a:xfrm>
            <a:off x="8172400" y="3430741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2" name="TextBox 81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1443577"/>
              </p:ext>
            </p:extLst>
          </p:nvPr>
        </p:nvGraphicFramePr>
        <p:xfrm>
          <a:off x="251520" y="5589240"/>
          <a:ext cx="8715436" cy="105903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430431"/>
                <a:gridCol w="5109589"/>
                <a:gridCol w="1360241"/>
                <a:gridCol w="1815175"/>
              </a:tblGrid>
              <a:tr h="492745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ru-RU" sz="13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marL="0" marR="0" indent="0" algn="l" defTabSz="894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ормирование Консолидированных Заявок от субъектов РФ согласно Схемы</a:t>
                      </a:r>
                      <a:endParaRPr lang="ru-RU" sz="1300" b="0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жегодно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3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 01.03. по 30.05.</a:t>
                      </a:r>
                    </a:p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 01.09. по 30.10.</a:t>
                      </a:r>
                      <a:endParaRPr lang="ru-RU" sz="13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566285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едоставление Консолидированных Заявок субъектов РФ,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включающих Заявки инвестиционных проектов 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жегодно 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позднее 30.05.</a:t>
                      </a:r>
                    </a:p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позднее 30.10.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55576" y="104781"/>
            <a:ext cx="7008472" cy="515908"/>
          </a:xfrm>
        </p:spPr>
        <p:txBody>
          <a:bodyPr>
            <a:normAutofit/>
          </a:bodyPr>
          <a:lstStyle/>
          <a:p>
            <a:r>
              <a:rPr lang="ru-RU" sz="1600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Особые условия финансирования </a:t>
            </a:r>
            <a:endParaRPr lang="ru-RU" sz="1600" dirty="0">
              <a:solidFill>
                <a:srgbClr val="4F622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95536" y="5229200"/>
            <a:ext cx="8501062" cy="7143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23528" y="836712"/>
            <a:ext cx="8501062" cy="79208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23528" y="1844824"/>
            <a:ext cx="8568952" cy="1074415"/>
          </a:xfrm>
          <a:prstGeom prst="rect">
            <a:avLst/>
          </a:prstGeom>
          <a:solidFill>
            <a:srgbClr val="D6ED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95536" y="2996952"/>
            <a:ext cx="8501062" cy="914995"/>
          </a:xfrm>
          <a:prstGeom prst="rect">
            <a:avLst/>
          </a:prstGeom>
          <a:solidFill>
            <a:srgbClr val="D6ED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08658" y="3989660"/>
            <a:ext cx="8501062" cy="1023516"/>
          </a:xfrm>
          <a:prstGeom prst="rect">
            <a:avLst/>
          </a:prstGeom>
          <a:solidFill>
            <a:srgbClr val="D6ED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251520" y="836712"/>
            <a:ext cx="1656184" cy="756008"/>
          </a:xfrm>
          <a:prstGeom prst="roundRect">
            <a:avLst/>
          </a:prstGeom>
          <a:solidFill>
            <a:srgbClr val="008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ЗАЛОГ</a:t>
            </a:r>
            <a:endParaRPr lang="ru-RU" sz="13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Содержимое 2"/>
          <p:cNvSpPr txBox="1">
            <a:spLocks/>
          </p:cNvSpPr>
          <p:nvPr/>
        </p:nvSpPr>
        <p:spPr>
          <a:xfrm>
            <a:off x="1979712" y="908720"/>
            <a:ext cx="6984776" cy="5832648"/>
          </a:xfrm>
          <a:prstGeom prst="rect">
            <a:avLst/>
          </a:prstGeom>
        </p:spPr>
        <p:txBody>
          <a:bodyPr/>
          <a:lstStyle/>
          <a:p>
            <a:pPr algn="ctr" fontAlgn="t"/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Комфортное обеспечение</a:t>
            </a:r>
          </a:p>
          <a:p>
            <a:pPr algn="ctr" fontAlgn="t"/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Основное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обеспечение</a:t>
            </a:r>
          </a:p>
          <a:p>
            <a:pPr marL="1081088" algn="ctr" fontAlgn="auto">
              <a:spcBef>
                <a:spcPts val="0"/>
              </a:spcBef>
              <a:spcAft>
                <a:spcPts val="0"/>
              </a:spcAft>
              <a:tabLst>
                <a:tab pos="534988" algn="l"/>
              </a:tabLst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Для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проектов, соответствующих требованиям Постановления Правительства №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044</a:t>
            </a:r>
          </a:p>
          <a:p>
            <a:pPr algn="ctr">
              <a:defRPr/>
            </a:pP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Уровень процентной ставки, установленной ЦБ для уполномоченных Банком в целях рефинансирования кредитов + 2,5%</a:t>
            </a:r>
          </a:p>
          <a:p>
            <a:pPr algn="ctr">
              <a:defRPr/>
            </a:pPr>
            <a:endParaRPr lang="ru-RU" sz="16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Для проектов, соответствующих требованиям ФЗ № 209</a:t>
            </a:r>
          </a:p>
          <a:p>
            <a:pPr algn="ctr">
              <a:defRPr/>
            </a:pP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Уровень процентной ставки, установленной ЦБ для уполномоченных Банком в целях рефинансирования кредитов + 2,5%</a:t>
            </a:r>
          </a:p>
          <a:p>
            <a:pPr algn="ctr">
              <a:defRPr/>
            </a:pPr>
            <a:endParaRPr lang="ru-RU" sz="16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Для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проектов, соответствующих требованиям нормативно – правовых актов,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разрабатываемых в порядке реализации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в рамках Распоряжения №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98-Р 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 отдельным нормативно – правовым актам</a:t>
            </a:r>
            <a:endParaRPr lang="ru-RU" sz="1400" b="1" dirty="0">
              <a:solidFill>
                <a:schemeClr val="accent6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По уплате процентов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 6 до 9 месяцев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 smtClean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о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1081088"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1081088"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1081088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	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179512" y="1844824"/>
            <a:ext cx="1709936" cy="3168352"/>
          </a:xfrm>
          <a:prstGeom prst="roundRect">
            <a:avLst/>
          </a:prstGeom>
          <a:solidFill>
            <a:srgbClr val="008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СТОИМОСТЬ СРЕДСТВ</a:t>
            </a:r>
            <a:endParaRPr lang="ru-RU" sz="13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467544" y="6021288"/>
            <a:ext cx="8424936" cy="7143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ru-RU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о отсрочке </a:t>
            </a:r>
            <a:r>
              <a:rPr lang="ru-RU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                      </a:t>
            </a:r>
          </a:p>
          <a:p>
            <a:r>
              <a:rPr 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                                                                      </a:t>
            </a:r>
          </a:p>
          <a:p>
            <a:pPr algn="ctr"/>
            <a:r>
              <a:rPr 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                     По </a:t>
            </a:r>
            <a:r>
              <a:rPr 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сновному </a:t>
            </a:r>
            <a:r>
              <a:rPr lang="ru-RU" sz="16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долгу</a:t>
            </a:r>
          </a:p>
          <a:p>
            <a:pPr algn="ctr"/>
            <a:r>
              <a:rPr 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                       </a:t>
            </a:r>
            <a:r>
              <a:rPr lang="ru-RU" sz="1600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о 36 месяцев</a:t>
            </a:r>
          </a:p>
          <a:p>
            <a:endParaRPr lang="ru-RU" sz="1600" b="1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179512" y="5157192"/>
            <a:ext cx="1656184" cy="1584176"/>
          </a:xfrm>
          <a:prstGeom prst="roundRect">
            <a:avLst/>
          </a:prstGeom>
          <a:solidFill>
            <a:srgbClr val="008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ФИНАНСОВЫЕ</a:t>
            </a:r>
          </a:p>
          <a:p>
            <a:pPr algn="ctr"/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каникулы</a:t>
            </a:r>
            <a:endParaRPr lang="ru-RU" sz="1300" b="1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6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           </a:t>
            </a:r>
            <a:r>
              <a:rPr lang="ru-RU" sz="16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акие проекты могут быть заявлены на Конкурс</a:t>
            </a:r>
            <a:endParaRPr lang="ru-RU" sz="1600" dirty="0"/>
          </a:p>
        </p:txBody>
      </p:sp>
      <p:sp>
        <p:nvSpPr>
          <p:cNvPr id="4" name="Равнобедренный треугольник 3"/>
          <p:cNvSpPr/>
          <p:nvPr/>
        </p:nvSpPr>
        <p:spPr bwMode="auto">
          <a:xfrm>
            <a:off x="3779912" y="836712"/>
            <a:ext cx="3024336" cy="1440160"/>
          </a:xfrm>
          <a:prstGeom prst="triangle">
            <a:avLst>
              <a:gd name="adj" fmla="val 50658"/>
            </a:avLst>
          </a:prstGeom>
          <a:solidFill>
            <a:srgbClr val="418A1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perspectiveAbove"/>
            <a:lightRig rig="balanced" dir="t"/>
          </a:scene3d>
          <a:sp3d extrusionH="101600" contourW="12700">
            <a:bevelT w="120650" h="127000"/>
            <a:bevelB prst="relaxedInset"/>
            <a:extrusionClr>
              <a:schemeClr val="accent3">
                <a:lumMod val="75000"/>
              </a:schemeClr>
            </a:extrusionClr>
            <a:contourClr>
              <a:schemeClr val="accent3">
                <a:lumMod val="75000"/>
              </a:schemeClr>
            </a:contourClr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schemeClr val="bg1"/>
              </a:solidFill>
            </a:endParaRPr>
          </a:p>
        </p:txBody>
      </p:sp>
      <p:sp>
        <p:nvSpPr>
          <p:cNvPr id="5" name="Трапеция 4"/>
          <p:cNvSpPr/>
          <p:nvPr/>
        </p:nvSpPr>
        <p:spPr bwMode="auto">
          <a:xfrm>
            <a:off x="2843808" y="2420888"/>
            <a:ext cx="4896544" cy="1656015"/>
          </a:xfrm>
          <a:prstGeom prst="trapezoid">
            <a:avLst>
              <a:gd name="adj" fmla="val 59183"/>
            </a:avLst>
          </a:prstGeom>
          <a:solidFill>
            <a:srgbClr val="418A1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perspectiveAbove"/>
            <a:lightRig rig="balanced" dir="t"/>
          </a:scene3d>
          <a:sp3d extrusionH="101600" contourW="12700">
            <a:bevelT w="120650" h="127000"/>
            <a:bevelB prst="relaxedInset"/>
            <a:extrusionClr>
              <a:schemeClr val="accent3">
                <a:lumMod val="75000"/>
              </a:schemeClr>
            </a:extrusionClr>
            <a:contourClr>
              <a:schemeClr val="accent3">
                <a:lumMod val="75000"/>
              </a:schemeClr>
            </a:contourClr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6" name="Трапеция 5"/>
          <p:cNvSpPr/>
          <p:nvPr/>
        </p:nvSpPr>
        <p:spPr bwMode="auto">
          <a:xfrm>
            <a:off x="2267744" y="4221088"/>
            <a:ext cx="5976664" cy="1008112"/>
          </a:xfrm>
          <a:prstGeom prst="trapezoid">
            <a:avLst>
              <a:gd name="adj" fmla="val 54552"/>
            </a:avLst>
          </a:prstGeom>
          <a:solidFill>
            <a:srgbClr val="418A1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perspectiveAbove"/>
            <a:lightRig rig="balanced" dir="t"/>
          </a:scene3d>
          <a:sp3d extrusionH="101600" contourW="12700">
            <a:bevelT w="120650" h="127000"/>
            <a:bevelB prst="relaxedInset"/>
            <a:extrusionClr>
              <a:schemeClr val="accent3">
                <a:lumMod val="75000"/>
              </a:schemeClr>
            </a:extrusionClr>
            <a:contourClr>
              <a:schemeClr val="accent3">
                <a:lumMod val="75000"/>
              </a:schemeClr>
            </a:contourClr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7" name="Трапеция 6"/>
          <p:cNvSpPr/>
          <p:nvPr/>
        </p:nvSpPr>
        <p:spPr bwMode="auto">
          <a:xfrm>
            <a:off x="2627784" y="5445224"/>
            <a:ext cx="5935690" cy="605484"/>
          </a:xfrm>
          <a:prstGeom prst="trapezoid">
            <a:avLst>
              <a:gd name="adj" fmla="val 49391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srgbClr val="000000"/>
              </a:solidFill>
            </a:endParaRPr>
          </a:p>
        </p:txBody>
      </p:sp>
      <p:sp>
        <p:nvSpPr>
          <p:cNvPr id="8" name="Овал 19"/>
          <p:cNvSpPr>
            <a:spLocks noChangeArrowheads="1"/>
          </p:cNvSpPr>
          <p:nvPr/>
        </p:nvSpPr>
        <p:spPr bwMode="auto">
          <a:xfrm>
            <a:off x="323528" y="4509120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A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9" name="Овал 19"/>
          <p:cNvSpPr>
            <a:spLocks noChangeArrowheads="1"/>
          </p:cNvSpPr>
          <p:nvPr/>
        </p:nvSpPr>
        <p:spPr bwMode="auto">
          <a:xfrm>
            <a:off x="323528" y="2564904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B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10" name="Овал 19"/>
          <p:cNvSpPr>
            <a:spLocks noChangeArrowheads="1"/>
          </p:cNvSpPr>
          <p:nvPr/>
        </p:nvSpPr>
        <p:spPr bwMode="auto">
          <a:xfrm>
            <a:off x="323528" y="1196752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C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 bwMode="auto">
          <a:xfrm>
            <a:off x="323528" y="2276872"/>
            <a:ext cx="8006978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Прямая соединительная линия 11"/>
          <p:cNvCxnSpPr/>
          <p:nvPr/>
        </p:nvCxnSpPr>
        <p:spPr bwMode="auto">
          <a:xfrm>
            <a:off x="304771" y="4117665"/>
            <a:ext cx="7971541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Прямая соединительная линия 12"/>
          <p:cNvCxnSpPr/>
          <p:nvPr/>
        </p:nvCxnSpPr>
        <p:spPr bwMode="auto">
          <a:xfrm>
            <a:off x="318942" y="5301208"/>
            <a:ext cx="8041968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Правая фигурная скобка 13"/>
          <p:cNvSpPr/>
          <p:nvPr/>
        </p:nvSpPr>
        <p:spPr bwMode="auto">
          <a:xfrm>
            <a:off x="8100392" y="1357391"/>
            <a:ext cx="202019" cy="803105"/>
          </a:xfrm>
          <a:prstGeom prst="righ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srgbClr val="000000"/>
              </a:solidFill>
            </a:endParaRPr>
          </a:p>
        </p:txBody>
      </p:sp>
      <p:sp>
        <p:nvSpPr>
          <p:cNvPr id="15" name="Правая фигурная скобка 14"/>
          <p:cNvSpPr/>
          <p:nvPr/>
        </p:nvSpPr>
        <p:spPr bwMode="auto">
          <a:xfrm>
            <a:off x="8100392" y="2339165"/>
            <a:ext cx="226823" cy="1686519"/>
          </a:xfrm>
          <a:prstGeom prst="righ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srgbClr val="000000"/>
              </a:solidFill>
            </a:endParaRPr>
          </a:p>
        </p:txBody>
      </p:sp>
      <p:sp>
        <p:nvSpPr>
          <p:cNvPr id="16" name="Правая фигурная скобка 15"/>
          <p:cNvSpPr/>
          <p:nvPr/>
        </p:nvSpPr>
        <p:spPr bwMode="auto">
          <a:xfrm>
            <a:off x="8103930" y="4214111"/>
            <a:ext cx="249761" cy="967809"/>
          </a:xfrm>
          <a:prstGeom prst="righ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srgbClr val="00000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348482" y="1544514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III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353691" y="2978546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II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353691" y="4499828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I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971600" y="1268760"/>
            <a:ext cx="2668772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Специальные программные решения отдельно по каждому проекту</a:t>
            </a:r>
            <a:endParaRPr lang="ru-RU" sz="13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66899" y="2604990"/>
            <a:ext cx="266877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Ускоренная схема рассмотрения проектов</a:t>
            </a:r>
            <a:endParaRPr lang="ru-RU" sz="13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63342" y="4355363"/>
            <a:ext cx="2668772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Комплексная систем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опровождения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роектов</a:t>
            </a:r>
            <a:endParaRPr lang="ru-RU" sz="13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95536" y="5445224"/>
            <a:ext cx="266877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Механизмы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финансирования</a:t>
            </a:r>
            <a:endParaRPr lang="ru-RU" sz="13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644008" y="1412776"/>
            <a:ext cx="140840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Незавершенное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</a:t>
            </a:r>
            <a:r>
              <a:rPr lang="ru-RU" sz="11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оизводство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Модернизация     др. проекты</a:t>
            </a:r>
            <a:endParaRPr lang="ru-RU" sz="11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707904" y="2852936"/>
            <a:ext cx="324036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екты</a:t>
            </a:r>
          </a:p>
          <a:p>
            <a:pPr algn="ctr"/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 </a:t>
            </a: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 наличием  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зрешительной </a:t>
            </a: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документации      </a:t>
            </a:r>
          </a:p>
          <a:p>
            <a:pPr algn="ctr"/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13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563888" y="4365104"/>
            <a:ext cx="3816424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ект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ы</a:t>
            </a: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«с нуля</a:t>
            </a: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»  </a:t>
            </a:r>
            <a:endParaRPr lang="en-US" sz="1300" b="1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ез наличия разработанной </a:t>
            </a: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ектно 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- сметной документации)</a:t>
            </a:r>
          </a:p>
        </p:txBody>
      </p:sp>
      <p:sp>
        <p:nvSpPr>
          <p:cNvPr id="27" name="Трапеция 26"/>
          <p:cNvSpPr/>
          <p:nvPr/>
        </p:nvSpPr>
        <p:spPr bwMode="auto">
          <a:xfrm>
            <a:off x="1475656" y="5373216"/>
            <a:ext cx="7560840" cy="1152128"/>
          </a:xfrm>
          <a:prstGeom prst="trapezoid">
            <a:avLst>
              <a:gd name="adj" fmla="val 54552"/>
            </a:avLst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ектное </a:t>
            </a:r>
            <a:r>
              <a:rPr lang="ru-RU" sz="1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финансирование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 Инвестиционное финансирование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 Концессия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 и другие механизмы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6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2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2" descr="Картинка 30 из 29046">
            <a:hlinkClick r:id="rId21"/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2420888"/>
            <a:ext cx="582803" cy="50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1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688" y="3933056"/>
            <a:ext cx="619036" cy="495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7" descr="http://im7-tub-ru.yandex.net/i?id=337587134-02-72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4" y="4745117"/>
            <a:ext cx="274313" cy="484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www.bsncharteredaccountants.co.uk/images/business_start_up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1691680" y="5517232"/>
            <a:ext cx="751102" cy="46988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pSp>
        <p:nvGrpSpPr>
          <p:cNvPr id="7" name="Группа 2"/>
          <p:cNvGrpSpPr/>
          <p:nvPr/>
        </p:nvGrpSpPr>
        <p:grpSpPr>
          <a:xfrm>
            <a:off x="1691680" y="2996952"/>
            <a:ext cx="648072" cy="622675"/>
            <a:chOff x="2275003" y="3098149"/>
            <a:chExt cx="911489" cy="719137"/>
          </a:xfrm>
        </p:grpSpPr>
        <p:pic>
          <p:nvPicPr>
            <p:cNvPr id="8" name="Picture 20" descr="D:\Go\20110530_Сбербанк\Презентация\Материалы\heyhey.ru_City_iconset_PNG\City_iconset_PNG\bridge.png"/>
            <p:cNvPicPr>
              <a:picLocks noChangeAspect="1" noChangeArrowheads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75003" y="3098149"/>
              <a:ext cx="779065" cy="719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37" descr="\\volkov-7\Exchange\icons razdel\Иконки\Трактор и свинка\Трактор.png"/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49917" y="3307698"/>
              <a:ext cx="536575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" name="Прямоугольник 10"/>
          <p:cNvSpPr/>
          <p:nvPr>
            <p:custDataLst>
              <p:tags r:id="rId2"/>
            </p:custDataLst>
          </p:nvPr>
        </p:nvSpPr>
        <p:spPr>
          <a:xfrm>
            <a:off x="7596336" y="1628800"/>
            <a:ext cx="1477134" cy="583823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200" b="1" dirty="0" smtClean="0">
                <a:solidFill>
                  <a:schemeClr val="bg2"/>
                </a:solidFill>
                <a:latin typeface="Times New Roman" pitchFamily="18" charset="0"/>
                <a:cs typeface="Times New Roman" pitchFamily="18" charset="0"/>
              </a:rPr>
              <a:t>Комбинированные схемы финансирования</a:t>
            </a:r>
            <a:endParaRPr lang="ru-RU" sz="1200" b="1" dirty="0">
              <a:solidFill>
                <a:schemeClr val="bg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Прямоугольник 11"/>
          <p:cNvSpPr/>
          <p:nvPr>
            <p:custDataLst>
              <p:tags r:id="rId3"/>
            </p:custDataLst>
          </p:nvPr>
        </p:nvSpPr>
        <p:spPr>
          <a:xfrm>
            <a:off x="6012160" y="1628800"/>
            <a:ext cx="1405126" cy="583823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200" b="1" dirty="0" smtClean="0">
                <a:solidFill>
                  <a:schemeClr val="bg2"/>
                </a:solidFill>
                <a:latin typeface="Times New Roman" pitchFamily="18" charset="0"/>
                <a:cs typeface="Times New Roman" pitchFamily="18" charset="0"/>
              </a:rPr>
              <a:t>Концессии</a:t>
            </a:r>
            <a:endParaRPr lang="ru-RU" sz="1200" b="1" dirty="0">
              <a:solidFill>
                <a:schemeClr val="bg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Прямоугольник 12"/>
          <p:cNvSpPr/>
          <p:nvPr>
            <p:custDataLst>
              <p:tags r:id="rId4"/>
            </p:custDataLst>
          </p:nvPr>
        </p:nvSpPr>
        <p:spPr>
          <a:xfrm>
            <a:off x="4427984" y="1628800"/>
            <a:ext cx="1405126" cy="583823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200" b="1" dirty="0" smtClean="0">
                <a:solidFill>
                  <a:schemeClr val="bg2"/>
                </a:solidFill>
                <a:latin typeface="Times New Roman" pitchFamily="18" charset="0"/>
                <a:cs typeface="Times New Roman" pitchFamily="18" charset="0"/>
              </a:rPr>
              <a:t>Проектное финансирование с госучастием</a:t>
            </a:r>
            <a:endParaRPr lang="ru-RU" sz="1200" b="1" dirty="0">
              <a:solidFill>
                <a:schemeClr val="bg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Прямоугольник 13"/>
          <p:cNvSpPr/>
          <p:nvPr>
            <p:custDataLst>
              <p:tags r:id="rId5"/>
            </p:custDataLst>
          </p:nvPr>
        </p:nvSpPr>
        <p:spPr>
          <a:xfrm>
            <a:off x="4427984" y="836712"/>
            <a:ext cx="4608512" cy="291854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Типы финансовых продуктов</a:t>
            </a:r>
          </a:p>
        </p:txBody>
      </p:sp>
      <p:sp>
        <p:nvSpPr>
          <p:cNvPr id="15" name="Прямоугольник 14"/>
          <p:cNvSpPr/>
          <p:nvPr>
            <p:custDataLst>
              <p:tags r:id="rId6"/>
            </p:custDataLst>
          </p:nvPr>
        </p:nvSpPr>
        <p:spPr>
          <a:xfrm>
            <a:off x="2630035" y="1628800"/>
            <a:ext cx="1725941" cy="461665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b="1" dirty="0" smtClean="0">
                <a:solidFill>
                  <a:schemeClr val="bg2"/>
                </a:solidFill>
                <a:latin typeface="Times New Roman" pitchFamily="18" charset="0"/>
                <a:cs typeface="Times New Roman" pitchFamily="18" charset="0"/>
              </a:rPr>
              <a:t>Примеры</a:t>
            </a:r>
            <a:endParaRPr lang="en-US" sz="1300" b="1" dirty="0" smtClean="0">
              <a:solidFill>
                <a:schemeClr val="bg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Прямоугольник 15"/>
          <p:cNvSpPr/>
          <p:nvPr>
            <p:custDataLst>
              <p:tags r:id="rId7"/>
            </p:custDataLst>
          </p:nvPr>
        </p:nvSpPr>
        <p:spPr>
          <a:xfrm>
            <a:off x="107504" y="1196752"/>
            <a:ext cx="4216176" cy="372698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b="1" dirty="0" smtClean="0">
                <a:solidFill>
                  <a:schemeClr val="bg2"/>
                </a:solidFill>
                <a:latin typeface="Times New Roman" pitchFamily="18" charset="0"/>
                <a:cs typeface="Times New Roman" pitchFamily="18" charset="0"/>
              </a:rPr>
              <a:t>Приоритетные сектора экономики</a:t>
            </a:r>
            <a:endParaRPr lang="ru-RU" sz="1300" b="1" dirty="0">
              <a:solidFill>
                <a:schemeClr val="bg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Прямоугольник 16"/>
          <p:cNvSpPr/>
          <p:nvPr>
            <p:custDataLst>
              <p:tags r:id="rId8"/>
            </p:custDataLst>
          </p:nvPr>
        </p:nvSpPr>
        <p:spPr>
          <a:xfrm>
            <a:off x="107505" y="2420888"/>
            <a:ext cx="1368151" cy="512961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оциальные </a:t>
            </a:r>
            <a:r>
              <a:rPr lang="ru-RU" sz="13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екторы</a:t>
            </a:r>
            <a:endParaRPr lang="ru-RU" sz="13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Прямоугольник 25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339752" y="2204864"/>
            <a:ext cx="2016224" cy="68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171450" indent="-171450" defTabSz="900113" eaLnBrk="0" hangingPunct="0">
              <a:lnSpc>
                <a:spcPts val="1000"/>
              </a:lnSpc>
              <a:buSzPct val="110000"/>
              <a:buFont typeface="Arial" pitchFamily="34" charset="0"/>
              <a:buChar char="•"/>
            </a:pPr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Здравоохранение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Социальные учреждения</a:t>
            </a:r>
            <a:endParaRPr lang="en-US" sz="1200" dirty="0" smtClean="0">
              <a:latin typeface="Times New Roman" pitchFamily="18" charset="0"/>
              <a:cs typeface="Times New Roman" pitchFamily="18" charset="0"/>
            </a:endParaRP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рочие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Прямоугольник 2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339752" y="3068960"/>
            <a:ext cx="1821467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Логистические центры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Промышленные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арки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Дороги и прочие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Прямоугольник 25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339752" y="3789040"/>
            <a:ext cx="2088232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Водоснабжение, водоотведение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Отопление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Переработка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отходов и прочие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Прямоугольник 25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339752" y="4797152"/>
            <a:ext cx="216024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Генерация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Сети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err="1" smtClean="0">
                <a:latin typeface="Times New Roman" pitchFamily="18" charset="0"/>
                <a:cs typeface="Times New Roman" pitchFamily="18" charset="0"/>
              </a:rPr>
              <a:t>Энергоэффективность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и пр. </a:t>
            </a:r>
          </a:p>
        </p:txBody>
      </p:sp>
      <p:sp>
        <p:nvSpPr>
          <p:cNvPr id="22" name="Прямоугольник 25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411760" y="5517232"/>
            <a:ext cx="1821467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Тепличные хозяйства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тицефабрики</a:t>
            </a:r>
            <a:r>
              <a:rPr lang="en-US" sz="1200" dirty="0" smtClean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рочие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Прямоугольник 22"/>
          <p:cNvSpPr/>
          <p:nvPr>
            <p:custDataLst>
              <p:tags r:id="rId14"/>
            </p:custDataLst>
          </p:nvPr>
        </p:nvSpPr>
        <p:spPr>
          <a:xfrm>
            <a:off x="107505" y="3212976"/>
            <a:ext cx="1368151" cy="512961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нфраструктура</a:t>
            </a:r>
          </a:p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 </a:t>
            </a:r>
            <a:r>
              <a:rPr lang="ru-RU" sz="13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транспорт</a:t>
            </a:r>
          </a:p>
        </p:txBody>
      </p:sp>
      <p:sp>
        <p:nvSpPr>
          <p:cNvPr id="24" name="Прямоугольник 23"/>
          <p:cNvSpPr/>
          <p:nvPr>
            <p:custDataLst>
              <p:tags r:id="rId15"/>
            </p:custDataLst>
          </p:nvPr>
        </p:nvSpPr>
        <p:spPr>
          <a:xfrm>
            <a:off x="107505" y="3933056"/>
            <a:ext cx="1368151" cy="512961"/>
          </a:xfrm>
          <a:prstGeom prst="rect">
            <a:avLst/>
          </a:prstGeom>
          <a:gradFill>
            <a:gsLst>
              <a:gs pos="0">
                <a:schemeClr val="accent3">
                  <a:lumMod val="75000"/>
                </a:scheme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ЖКХ</a:t>
            </a:r>
          </a:p>
        </p:txBody>
      </p:sp>
      <p:sp>
        <p:nvSpPr>
          <p:cNvPr id="25" name="Прямоугольник 24"/>
          <p:cNvSpPr/>
          <p:nvPr>
            <p:custDataLst>
              <p:tags r:id="rId16"/>
            </p:custDataLst>
          </p:nvPr>
        </p:nvSpPr>
        <p:spPr>
          <a:xfrm>
            <a:off x="107505" y="4797152"/>
            <a:ext cx="1368151" cy="512961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Энергетика</a:t>
            </a:r>
          </a:p>
        </p:txBody>
      </p:sp>
      <p:sp>
        <p:nvSpPr>
          <p:cNvPr id="26" name="Прямоугольник 25"/>
          <p:cNvSpPr/>
          <p:nvPr>
            <p:custDataLst>
              <p:tags r:id="rId17"/>
            </p:custDataLst>
          </p:nvPr>
        </p:nvSpPr>
        <p:spPr>
          <a:xfrm>
            <a:off x="107505" y="5549232"/>
            <a:ext cx="1368151" cy="512961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АПК</a:t>
            </a:r>
            <a:endParaRPr lang="ru-RU" sz="13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27" name="Прямая соединительная линия 26"/>
          <p:cNvCxnSpPr/>
          <p:nvPr/>
        </p:nvCxnSpPr>
        <p:spPr bwMode="auto">
          <a:xfrm>
            <a:off x="4655212" y="2986335"/>
            <a:ext cx="4322906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Прямая соединительная линия 27"/>
          <p:cNvCxnSpPr/>
          <p:nvPr/>
        </p:nvCxnSpPr>
        <p:spPr bwMode="auto">
          <a:xfrm>
            <a:off x="4655212" y="3568795"/>
            <a:ext cx="432290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Прямая соединительная линия 28"/>
          <p:cNvCxnSpPr/>
          <p:nvPr/>
        </p:nvCxnSpPr>
        <p:spPr bwMode="auto">
          <a:xfrm>
            <a:off x="4655212" y="4151255"/>
            <a:ext cx="432290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4655212" y="4733715"/>
            <a:ext cx="432290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единительная линия 30"/>
          <p:cNvCxnSpPr/>
          <p:nvPr/>
        </p:nvCxnSpPr>
        <p:spPr bwMode="auto">
          <a:xfrm>
            <a:off x="4655212" y="5316175"/>
            <a:ext cx="432290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>
            <a:off x="4655212" y="5898635"/>
            <a:ext cx="432290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/>
          <p:cNvCxnSpPr/>
          <p:nvPr/>
        </p:nvCxnSpPr>
        <p:spPr bwMode="auto">
          <a:xfrm flipV="1">
            <a:off x="4427984" y="6481099"/>
            <a:ext cx="4550134" cy="260269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единительная линия 33"/>
          <p:cNvCxnSpPr/>
          <p:nvPr/>
        </p:nvCxnSpPr>
        <p:spPr bwMode="auto">
          <a:xfrm flipV="1">
            <a:off x="4655212" y="2986335"/>
            <a:ext cx="0" cy="349476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34"/>
          <p:cNvCxnSpPr/>
          <p:nvPr/>
        </p:nvCxnSpPr>
        <p:spPr bwMode="auto">
          <a:xfrm flipV="1">
            <a:off x="8964613" y="2986335"/>
            <a:ext cx="0" cy="349476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Прямая соединительная линия 35"/>
          <p:cNvCxnSpPr/>
          <p:nvPr/>
        </p:nvCxnSpPr>
        <p:spPr bwMode="auto">
          <a:xfrm flipV="1">
            <a:off x="6092208" y="2986335"/>
            <a:ext cx="0" cy="349476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Прямая соединительная линия 36"/>
          <p:cNvCxnSpPr/>
          <p:nvPr/>
        </p:nvCxnSpPr>
        <p:spPr bwMode="auto">
          <a:xfrm flipV="1">
            <a:off x="7527617" y="2986335"/>
            <a:ext cx="0" cy="349476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Прямоугольник 37"/>
          <p:cNvSpPr/>
          <p:nvPr>
            <p:custDataLst>
              <p:tags r:id="rId18"/>
            </p:custDataLst>
          </p:nvPr>
        </p:nvSpPr>
        <p:spPr>
          <a:xfrm>
            <a:off x="107505" y="6197304"/>
            <a:ext cx="1368151" cy="512961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иоритетные сектора</a:t>
            </a:r>
          </a:p>
        </p:txBody>
      </p:sp>
      <p:sp>
        <p:nvSpPr>
          <p:cNvPr id="39" name="Прямоугольник 25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2411760" y="6021288"/>
            <a:ext cx="1821467" cy="8669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171450" indent="-171450" defTabSz="900113" eaLnBrk="0" hangingPunct="0">
              <a:lnSpc>
                <a:spcPts val="1000"/>
              </a:lnSpc>
              <a:buSzPct val="110000"/>
              <a:buFont typeface="Arial" pitchFamily="34" charset="0"/>
              <a:buChar char="•"/>
            </a:pPr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Инновационная экономика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ромышленность прочие 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0" name="Picture 4"/>
          <p:cNvPicPr>
            <a:picLocks noChangeAspect="1" noChangeArrowheads="1"/>
          </p:cNvPicPr>
          <p:nvPr/>
        </p:nvPicPr>
        <p:blipFill rotWithShape="1"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691680" y="6237312"/>
            <a:ext cx="627514" cy="41277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Овал 19"/>
          <p:cNvSpPr>
            <a:spLocks noChangeArrowheads="1"/>
          </p:cNvSpPr>
          <p:nvPr/>
        </p:nvSpPr>
        <p:spPr bwMode="auto">
          <a:xfrm>
            <a:off x="4932040" y="2348880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2" name="Овал 19"/>
          <p:cNvSpPr>
            <a:spLocks noChangeArrowheads="1"/>
          </p:cNvSpPr>
          <p:nvPr/>
        </p:nvSpPr>
        <p:spPr bwMode="auto">
          <a:xfrm>
            <a:off x="6516216" y="2348880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3" name="Овал 19"/>
          <p:cNvSpPr>
            <a:spLocks noChangeArrowheads="1"/>
          </p:cNvSpPr>
          <p:nvPr/>
        </p:nvSpPr>
        <p:spPr bwMode="auto">
          <a:xfrm>
            <a:off x="4932040" y="3933056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4" name="Овал 19"/>
          <p:cNvSpPr>
            <a:spLocks noChangeArrowheads="1"/>
          </p:cNvSpPr>
          <p:nvPr/>
        </p:nvSpPr>
        <p:spPr bwMode="auto">
          <a:xfrm>
            <a:off x="4932040" y="3140968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5" name="Овал 19"/>
          <p:cNvSpPr>
            <a:spLocks noChangeArrowheads="1"/>
          </p:cNvSpPr>
          <p:nvPr/>
        </p:nvSpPr>
        <p:spPr bwMode="auto">
          <a:xfrm>
            <a:off x="8128403" y="3140968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6" name="Овал 19"/>
          <p:cNvSpPr>
            <a:spLocks noChangeArrowheads="1"/>
          </p:cNvSpPr>
          <p:nvPr/>
        </p:nvSpPr>
        <p:spPr bwMode="auto">
          <a:xfrm>
            <a:off x="4932040" y="4941168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7" name="Овал 19"/>
          <p:cNvSpPr>
            <a:spLocks noChangeArrowheads="1"/>
          </p:cNvSpPr>
          <p:nvPr/>
        </p:nvSpPr>
        <p:spPr bwMode="auto">
          <a:xfrm>
            <a:off x="6588224" y="4941168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8" name="Овал 19"/>
          <p:cNvSpPr>
            <a:spLocks noChangeArrowheads="1"/>
          </p:cNvSpPr>
          <p:nvPr/>
        </p:nvSpPr>
        <p:spPr bwMode="auto">
          <a:xfrm>
            <a:off x="6588224" y="3933056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9" name="Овал 19"/>
          <p:cNvSpPr>
            <a:spLocks noChangeArrowheads="1"/>
          </p:cNvSpPr>
          <p:nvPr/>
        </p:nvSpPr>
        <p:spPr bwMode="auto">
          <a:xfrm>
            <a:off x="8128403" y="6381328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50" name="Овал 19"/>
          <p:cNvSpPr>
            <a:spLocks noChangeArrowheads="1"/>
          </p:cNvSpPr>
          <p:nvPr/>
        </p:nvSpPr>
        <p:spPr bwMode="auto">
          <a:xfrm>
            <a:off x="4932040" y="6381328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51" name="Овал 19"/>
          <p:cNvSpPr>
            <a:spLocks noChangeArrowheads="1"/>
          </p:cNvSpPr>
          <p:nvPr/>
        </p:nvSpPr>
        <p:spPr bwMode="auto">
          <a:xfrm>
            <a:off x="4932040" y="5661248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52" name="Овал 19"/>
          <p:cNvSpPr>
            <a:spLocks noChangeArrowheads="1"/>
          </p:cNvSpPr>
          <p:nvPr/>
        </p:nvSpPr>
        <p:spPr bwMode="auto">
          <a:xfrm>
            <a:off x="8128403" y="3933056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55" name="Заголовок 54"/>
          <p:cNvSpPr txBox="1">
            <a:spLocks noGrp="1"/>
          </p:cNvSpPr>
          <p:nvPr>
            <p:ph type="title"/>
          </p:nvPr>
        </p:nvSpPr>
        <p:spPr>
          <a:xfrm>
            <a:off x="214282" y="142852"/>
            <a:ext cx="500066" cy="276999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800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7</a:t>
            </a:r>
            <a:endParaRPr lang="ru-RU" sz="1800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683568" y="188640"/>
            <a:ext cx="38788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Категории инвестиционных проектов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6016" y="188640"/>
            <a:ext cx="7602408" cy="366522"/>
          </a:xfrm>
        </p:spPr>
        <p:txBody>
          <a:bodyPr>
            <a:normAutofit/>
          </a:bodyPr>
          <a:lstStyle/>
          <a:p>
            <a:r>
              <a:rPr lang="ru-RU" sz="1600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Схема финансирования инвестиционного проекта </a:t>
            </a:r>
            <a:endParaRPr lang="ru-RU" sz="1600" dirty="0">
              <a:solidFill>
                <a:srgbClr val="4F622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8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AutoShape 45"/>
          <p:cNvSpPr>
            <a:spLocks noChangeArrowheads="1"/>
          </p:cNvSpPr>
          <p:nvPr/>
        </p:nvSpPr>
        <p:spPr bwMode="auto">
          <a:xfrm>
            <a:off x="3995936" y="836712"/>
            <a:ext cx="3024336" cy="823913"/>
          </a:xfrm>
          <a:prstGeom prst="roundRect">
            <a:avLst>
              <a:gd name="adj" fmla="val 16667"/>
            </a:avLst>
          </a:prstGeom>
          <a:noFill/>
          <a:ln w="25400">
            <a:noFill/>
            <a:prstDash val="dash"/>
            <a:round/>
            <a:headEnd/>
            <a:tailEnd/>
          </a:ln>
          <a:effectLst>
            <a:prstShdw prst="shdw17" dist="17961" dir="2700000">
              <a:srgbClr val="004324"/>
            </a:prstShdw>
          </a:effectLst>
        </p:spPr>
        <p:txBody>
          <a:bodyPr wrap="none" anchor="ctr"/>
          <a:lstStyle/>
          <a:p>
            <a:endParaRPr lang="en-US" sz="12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ctr">
              <a:spcBef>
                <a:spcPct val="0"/>
              </a:spcBef>
            </a:pPr>
            <a:r>
              <a:rPr lang="ru-RU" sz="1200" b="1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1 – учреждение компании-Заемщика 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ctr">
              <a:spcBef>
                <a:spcPct val="0"/>
              </a:spcBef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Инициатором </a:t>
            </a:r>
            <a:r>
              <a:rPr lang="ru-RU" sz="1200" b="1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роекта и Инвестором и 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ctr">
              <a:spcBef>
                <a:spcPct val="0"/>
              </a:spcBef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внесение </a:t>
            </a:r>
            <a:r>
              <a:rPr lang="ru-RU" sz="1200" b="1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своих долей участия</a:t>
            </a:r>
          </a:p>
          <a:p>
            <a:pPr algn="ctr"/>
            <a:endParaRPr lang="ru-RU" sz="12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2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Text Box 148"/>
          <p:cNvSpPr txBox="1">
            <a:spLocks noChangeArrowheads="1"/>
          </p:cNvSpPr>
          <p:nvPr/>
        </p:nvSpPr>
        <p:spPr bwMode="auto">
          <a:xfrm>
            <a:off x="3370474" y="3117968"/>
            <a:ext cx="409290" cy="457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10800000" anchor="ctr"/>
          <a:lstStyle/>
          <a:p>
            <a:pPr algn="ctr"/>
            <a:endParaRPr lang="ru-RU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" name="Rectangle 36"/>
          <p:cNvSpPr>
            <a:spLocks noChangeArrowheads="1"/>
          </p:cNvSpPr>
          <p:nvPr/>
        </p:nvSpPr>
        <p:spPr bwMode="auto">
          <a:xfrm>
            <a:off x="4860032" y="2492896"/>
            <a:ext cx="1422400" cy="770384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400" b="1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Заемщик</a:t>
            </a:r>
          </a:p>
          <a:p>
            <a:pPr algn="ctr"/>
            <a:r>
              <a:rPr lang="ru-RU" sz="1400" b="1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en-US" sz="1400" b="1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SPV)</a:t>
            </a:r>
            <a:endParaRPr lang="ru-RU" sz="1400" b="1" i="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Rectangle 36"/>
          <p:cNvSpPr>
            <a:spLocks noChangeArrowheads="1"/>
          </p:cNvSpPr>
          <p:nvPr/>
        </p:nvSpPr>
        <p:spPr bwMode="auto">
          <a:xfrm>
            <a:off x="3923928" y="1772816"/>
            <a:ext cx="1487488" cy="66675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0"/>
              </a:spcBef>
              <a:defRPr/>
            </a:pPr>
            <a:r>
              <a:rPr lang="ru-RU" sz="1050" b="1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нициатор </a:t>
            </a:r>
          </a:p>
          <a:p>
            <a:pPr algn="ctr">
              <a:spcBef>
                <a:spcPts val="0"/>
              </a:spcBef>
              <a:defRPr/>
            </a:pPr>
            <a:r>
              <a:rPr lang="en-US" sz="1050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[</a:t>
            </a:r>
            <a:r>
              <a:rPr lang="ru-RU" sz="1050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ложение от 10% </a:t>
            </a:r>
            <a:endParaRPr lang="en-US" sz="1050" i="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spcBef>
                <a:spcPts val="0"/>
              </a:spcBef>
              <a:defRPr/>
            </a:pPr>
            <a:r>
              <a:rPr lang="ru-RU" sz="1050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т общей суммы проекта</a:t>
            </a:r>
            <a:r>
              <a:rPr lang="en-US" sz="1050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]</a:t>
            </a:r>
            <a:endParaRPr lang="ru-RU" sz="1050" i="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7" name="Rectangle 36"/>
          <p:cNvSpPr>
            <a:spLocks noChangeArrowheads="1"/>
          </p:cNvSpPr>
          <p:nvPr/>
        </p:nvSpPr>
        <p:spPr bwMode="auto">
          <a:xfrm>
            <a:off x="5436096" y="1772816"/>
            <a:ext cx="1487488" cy="66675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0"/>
              </a:spcBef>
              <a:defRPr/>
            </a:pPr>
            <a:r>
              <a:rPr lang="ru-RU" sz="105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вестор </a:t>
            </a:r>
          </a:p>
          <a:p>
            <a:pPr algn="ctr">
              <a:spcBef>
                <a:spcPts val="0"/>
              </a:spcBef>
              <a:defRPr/>
            </a:pPr>
            <a:r>
              <a:rPr lang="en-US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[</a:t>
            </a:r>
            <a:r>
              <a:rPr lang="ru-RU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ложение до 30% </a:t>
            </a:r>
            <a:endParaRPr lang="en-US" sz="1050" i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spcBef>
                <a:spcPts val="0"/>
              </a:spcBef>
              <a:defRPr/>
            </a:pPr>
            <a:r>
              <a:rPr lang="ru-RU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 общей суммы проекта</a:t>
            </a:r>
            <a:r>
              <a:rPr lang="en-US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]</a:t>
            </a:r>
            <a:endParaRPr lang="ru-RU" sz="1050" i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Штриховая стрелка вправо 3"/>
          <p:cNvSpPr/>
          <p:nvPr/>
        </p:nvSpPr>
        <p:spPr>
          <a:xfrm flipH="1">
            <a:off x="1475656" y="2564904"/>
            <a:ext cx="3168352" cy="144016"/>
          </a:xfrm>
          <a:prstGeom prst="stripedRightArrow">
            <a:avLst/>
          </a:prstGeom>
          <a:solidFill>
            <a:srgbClr val="418A1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8" name="Rectangle 36"/>
          <p:cNvSpPr>
            <a:spLocks noChangeArrowheads="1"/>
          </p:cNvSpPr>
          <p:nvPr/>
        </p:nvSpPr>
        <p:spPr bwMode="auto">
          <a:xfrm>
            <a:off x="467544" y="2924944"/>
            <a:ext cx="1388616" cy="479412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0"/>
              </a:spcBef>
            </a:pPr>
            <a:r>
              <a:rPr lang="ru-RU" sz="13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Управляющая компания</a:t>
            </a:r>
          </a:p>
        </p:txBody>
      </p:sp>
      <p:sp>
        <p:nvSpPr>
          <p:cNvPr id="29" name="Rectangle 36"/>
          <p:cNvSpPr>
            <a:spLocks noChangeArrowheads="1"/>
          </p:cNvSpPr>
          <p:nvPr/>
        </p:nvSpPr>
        <p:spPr bwMode="auto">
          <a:xfrm>
            <a:off x="467544" y="3501008"/>
            <a:ext cx="1368152" cy="72008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0"/>
              </a:spcBef>
            </a:pPr>
            <a:r>
              <a:rPr lang="ru-RU" sz="13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Технический Заказчик</a:t>
            </a:r>
            <a:endParaRPr lang="ru-RU" sz="13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0" name="Rectangle 36"/>
          <p:cNvSpPr>
            <a:spLocks noChangeArrowheads="1"/>
          </p:cNvSpPr>
          <p:nvPr/>
        </p:nvSpPr>
        <p:spPr bwMode="auto">
          <a:xfrm>
            <a:off x="467544" y="4290169"/>
            <a:ext cx="1368152" cy="506983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0"/>
              </a:spcBef>
            </a:pPr>
            <a:r>
              <a:rPr lang="ru-RU" sz="13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траховая компания</a:t>
            </a:r>
          </a:p>
        </p:txBody>
      </p:sp>
      <p:sp>
        <p:nvSpPr>
          <p:cNvPr id="31" name="AutoShape 45"/>
          <p:cNvSpPr>
            <a:spLocks noChangeArrowheads="1"/>
          </p:cNvSpPr>
          <p:nvPr/>
        </p:nvSpPr>
        <p:spPr bwMode="auto">
          <a:xfrm>
            <a:off x="1979712" y="2708920"/>
            <a:ext cx="2664296" cy="288032"/>
          </a:xfrm>
          <a:prstGeom prst="roundRect">
            <a:avLst>
              <a:gd name="adj" fmla="val 16667"/>
            </a:avLst>
          </a:prstGeom>
          <a:noFill/>
          <a:ln w="25400">
            <a:noFill/>
            <a:prstDash val="dash"/>
            <a:round/>
            <a:headEnd/>
            <a:tailEnd/>
          </a:ln>
          <a:effectLst>
            <a:prstShdw prst="shdw17" dist="17961" dir="2700000">
              <a:srgbClr val="004324"/>
            </a:prstShdw>
          </a:effectLst>
        </p:spPr>
        <p:txBody>
          <a:bodyPr wrap="none" anchor="ctr"/>
          <a:lstStyle/>
          <a:p>
            <a:r>
              <a:rPr lang="ru-RU" sz="11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2 –заключение договора  управление</a:t>
            </a:r>
            <a:endParaRPr lang="ru-RU" sz="11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2" name="AutoShape 45"/>
          <p:cNvSpPr>
            <a:spLocks noChangeArrowheads="1"/>
          </p:cNvSpPr>
          <p:nvPr/>
        </p:nvSpPr>
        <p:spPr bwMode="auto">
          <a:xfrm>
            <a:off x="107504" y="764704"/>
            <a:ext cx="3672408" cy="1152128"/>
          </a:xfrm>
          <a:prstGeom prst="roundRect">
            <a:avLst>
              <a:gd name="adj" fmla="val 16667"/>
            </a:avLst>
          </a:prstGeom>
          <a:noFill/>
          <a:ln w="25400">
            <a:noFill/>
            <a:prstDash val="dash"/>
            <a:round/>
            <a:headEnd/>
            <a:tailEnd/>
          </a:ln>
          <a:effectLst>
            <a:prstShdw prst="shdw17" dist="17961" dir="2700000">
              <a:srgbClr val="004324"/>
            </a:prstShdw>
          </a:effectLst>
        </p:spPr>
        <p:txBody>
          <a:bodyPr wrap="none" anchor="ctr"/>
          <a:lstStyle/>
          <a:p>
            <a:pPr algn="just"/>
            <a:endParaRPr lang="en-US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lvl="1" algn="just">
              <a:spcBef>
                <a:spcPct val="0"/>
              </a:spcBef>
              <a:buClr>
                <a:srgbClr val="008A53"/>
              </a:buClr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о договору УК обеспечивает:</a:t>
            </a:r>
          </a:p>
          <a:p>
            <a:pPr marL="171450" lvl="1" indent="-171450" algn="just">
              <a:spcBef>
                <a:spcPct val="0"/>
              </a:spcBef>
              <a:buClr>
                <a:srgbClr val="008A53"/>
              </a:buClr>
              <a:buFont typeface="Arial"/>
              <a:buChar char="•"/>
            </a:pPr>
            <a:r>
              <a:rPr lang="ru-RU" sz="11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Составление </a:t>
            </a:r>
            <a:r>
              <a:rPr lang="ru-RU" sz="110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и ведение дорожной инвестиционной </a:t>
            </a:r>
            <a:endParaRPr lang="ru-RU" sz="110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lvl="1" algn="just">
              <a:spcBef>
                <a:spcPct val="0"/>
              </a:spcBef>
              <a:buClr>
                <a:srgbClr val="008A53"/>
              </a:buClr>
            </a:pPr>
            <a:r>
              <a:rPr lang="ru-RU" sz="11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карты </a:t>
            </a:r>
            <a:r>
              <a:rPr lang="ru-RU" sz="110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о проекту;</a:t>
            </a:r>
          </a:p>
          <a:p>
            <a:pPr marL="88900" lvl="1" indent="-88900" algn="just">
              <a:spcBef>
                <a:spcPct val="0"/>
              </a:spcBef>
              <a:buClr>
                <a:srgbClr val="008A53"/>
              </a:buClr>
              <a:buFont typeface="Arial" pitchFamily="34" charset="0"/>
              <a:buChar char="•"/>
            </a:pPr>
            <a:r>
              <a:rPr lang="ru-RU" sz="11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роработка </a:t>
            </a:r>
            <a:r>
              <a:rPr lang="ru-RU" sz="110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рынка сбыта, наполнение контрактной базы</a:t>
            </a:r>
            <a:r>
              <a:rPr lang="ru-RU" sz="11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;</a:t>
            </a:r>
            <a:endParaRPr lang="ru-RU" sz="11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1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" name="Двойная стрелка вверх/вниз 33"/>
          <p:cNvSpPr/>
          <p:nvPr/>
        </p:nvSpPr>
        <p:spPr>
          <a:xfrm>
            <a:off x="1259632" y="2348880"/>
            <a:ext cx="216024" cy="576064"/>
          </a:xfrm>
          <a:prstGeom prst="upDownArrow">
            <a:avLst/>
          </a:prstGeom>
          <a:solidFill>
            <a:srgbClr val="418A1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3677967" y="4013855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6" name="Штриховая стрелка вправо 35"/>
          <p:cNvSpPr/>
          <p:nvPr/>
        </p:nvSpPr>
        <p:spPr>
          <a:xfrm rot="20253676" flipH="1">
            <a:off x="2012087" y="3706196"/>
            <a:ext cx="2755164" cy="156937"/>
          </a:xfrm>
          <a:prstGeom prst="stripedRightArrow">
            <a:avLst/>
          </a:prstGeom>
          <a:solidFill>
            <a:srgbClr val="418A1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8" name="Rectangle 33"/>
          <p:cNvSpPr>
            <a:spLocks noChangeArrowheads="1"/>
          </p:cNvSpPr>
          <p:nvPr/>
        </p:nvSpPr>
        <p:spPr bwMode="auto">
          <a:xfrm>
            <a:off x="5508104" y="5229200"/>
            <a:ext cx="1466850" cy="107950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0"/>
              </a:spcBef>
            </a:pPr>
            <a:r>
              <a:rPr lang="ru-RU" sz="13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редитор</a:t>
            </a:r>
          </a:p>
          <a:p>
            <a:pPr algn="ctr">
              <a:spcBef>
                <a:spcPct val="0"/>
              </a:spcBef>
            </a:pPr>
            <a:r>
              <a:rPr lang="en-US" sz="13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[</a:t>
            </a:r>
            <a:r>
              <a:rPr lang="ru-RU" sz="13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ложение до </a:t>
            </a:r>
            <a:r>
              <a:rPr lang="ru-RU" sz="13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70% </a:t>
            </a:r>
            <a:endParaRPr lang="en-US" sz="13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spcBef>
                <a:spcPct val="0"/>
              </a:spcBef>
            </a:pPr>
            <a:r>
              <a:rPr lang="ru-RU" sz="13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 общей суммы проекта</a:t>
            </a:r>
            <a:r>
              <a:rPr lang="en-US" sz="13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]</a:t>
            </a:r>
            <a:endParaRPr lang="ru-RU" sz="13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9" name="Двойная стрелка вверх/вниз 38"/>
          <p:cNvSpPr/>
          <p:nvPr/>
        </p:nvSpPr>
        <p:spPr>
          <a:xfrm>
            <a:off x="5652120" y="3284984"/>
            <a:ext cx="288032" cy="1872208"/>
          </a:xfrm>
          <a:prstGeom prst="upDownArrow">
            <a:avLst/>
          </a:prstGeom>
          <a:solidFill>
            <a:srgbClr val="418A1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" name="AutoShape 45"/>
          <p:cNvSpPr>
            <a:spLocks noChangeArrowheads="1"/>
          </p:cNvSpPr>
          <p:nvPr/>
        </p:nvSpPr>
        <p:spPr bwMode="auto">
          <a:xfrm rot="5400000">
            <a:off x="3671901" y="4833157"/>
            <a:ext cx="3168350" cy="360040"/>
          </a:xfrm>
          <a:prstGeom prst="roundRect">
            <a:avLst>
              <a:gd name="adj" fmla="val 16667"/>
            </a:avLst>
          </a:prstGeom>
          <a:noFill/>
          <a:ln w="25400">
            <a:noFill/>
            <a:prstDash val="dash"/>
            <a:round/>
            <a:headEnd/>
            <a:tailEnd/>
          </a:ln>
          <a:effectLst>
            <a:prstShdw prst="shdw17" dist="17961" dir="2700000">
              <a:srgbClr val="004324"/>
            </a:prstShdw>
          </a:effectLst>
        </p:spPr>
        <p:txBody>
          <a:bodyPr wrap="none" anchor="ctr"/>
          <a:lstStyle/>
          <a:p>
            <a:pPr marL="193675" indent="-193675" algn="ctr">
              <a:lnSpc>
                <a:spcPct val="95000"/>
              </a:lnSpc>
            </a:pPr>
            <a:endParaRPr lang="ru-RU" sz="11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ctr">
              <a:lnSpc>
                <a:spcPct val="95000"/>
              </a:lnSpc>
            </a:pPr>
            <a:r>
              <a:rPr lang="ru-RU" sz="110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4 </a:t>
            </a:r>
            <a:r>
              <a:rPr lang="ru-RU" sz="120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2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редоставления обеспечения по кредиту</a:t>
            </a:r>
            <a:endParaRPr lang="en-US" sz="120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ctr">
              <a:lnSpc>
                <a:spcPct val="95000"/>
              </a:lnSpc>
            </a:pPr>
            <a:endParaRPr lang="ru-RU" sz="12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1" name="AutoShape 45"/>
          <p:cNvSpPr>
            <a:spLocks noChangeArrowheads="1"/>
          </p:cNvSpPr>
          <p:nvPr/>
        </p:nvSpPr>
        <p:spPr bwMode="auto">
          <a:xfrm rot="5400000">
            <a:off x="5436096" y="4005064"/>
            <a:ext cx="1800200" cy="504056"/>
          </a:xfrm>
          <a:prstGeom prst="roundRect">
            <a:avLst>
              <a:gd name="adj" fmla="val 16667"/>
            </a:avLst>
          </a:prstGeom>
          <a:noFill/>
          <a:ln w="25400">
            <a:noFill/>
            <a:prstDash val="dash"/>
            <a:round/>
            <a:headEnd/>
            <a:tailEnd/>
          </a:ln>
          <a:effectLst>
            <a:prstShdw prst="shdw17" dist="17961" dir="2700000">
              <a:srgbClr val="004324"/>
            </a:prstShdw>
          </a:effectLst>
        </p:spPr>
        <p:txBody>
          <a:bodyPr wrap="none" anchor="ctr"/>
          <a:lstStyle/>
          <a:p>
            <a:pPr marL="193675" indent="-193675">
              <a:lnSpc>
                <a:spcPct val="95000"/>
              </a:lnSpc>
            </a:pPr>
            <a:endParaRPr lang="ru-RU" sz="11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>
              <a:lnSpc>
                <a:spcPct val="95000"/>
              </a:lnSpc>
            </a:pPr>
            <a:r>
              <a:rPr lang="ru-RU" sz="11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5 </a:t>
            </a:r>
            <a:r>
              <a:rPr lang="ru-RU" sz="120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2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олучение кредита</a:t>
            </a:r>
            <a:endParaRPr lang="en-US" sz="120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>
              <a:lnSpc>
                <a:spcPct val="95000"/>
              </a:lnSpc>
            </a:pPr>
            <a:endParaRPr lang="ru-RU" sz="12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2" name="Rectangle 38"/>
          <p:cNvSpPr>
            <a:spLocks noChangeArrowheads="1"/>
          </p:cNvSpPr>
          <p:nvPr/>
        </p:nvSpPr>
        <p:spPr bwMode="auto">
          <a:xfrm>
            <a:off x="2267744" y="5157192"/>
            <a:ext cx="1754882" cy="155575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ru-RU" sz="1200" i="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Залог имущественных прав  на объекты (впоследствии готовые объекты), создаваемые в рамках инвестиционного </a:t>
            </a:r>
            <a:r>
              <a:rPr lang="ru-RU" sz="1200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роекта</a:t>
            </a:r>
            <a:endParaRPr lang="ru-RU" sz="12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43" name="Прямая со стрелкой 116"/>
          <p:cNvCxnSpPr>
            <a:cxnSpLocks noChangeShapeType="1"/>
          </p:cNvCxnSpPr>
          <p:nvPr/>
        </p:nvCxnSpPr>
        <p:spPr bwMode="auto">
          <a:xfrm>
            <a:off x="4211960" y="5373216"/>
            <a:ext cx="731196" cy="0"/>
          </a:xfrm>
          <a:prstGeom prst="straightConnector1">
            <a:avLst/>
          </a:prstGeom>
          <a:noFill/>
          <a:ln w="12700" algn="ctr">
            <a:solidFill>
              <a:srgbClr val="000000"/>
            </a:solidFill>
            <a:round/>
            <a:headEnd type="none" w="med" len="lg"/>
            <a:tailEnd type="triangle" w="med" len="lg"/>
          </a:ln>
        </p:spPr>
      </p:cxnSp>
      <p:sp>
        <p:nvSpPr>
          <p:cNvPr id="46" name="Rectangle 27"/>
          <p:cNvSpPr>
            <a:spLocks noChangeArrowheads="1"/>
          </p:cNvSpPr>
          <p:nvPr/>
        </p:nvSpPr>
        <p:spPr bwMode="auto">
          <a:xfrm>
            <a:off x="7147805" y="908720"/>
            <a:ext cx="1816683" cy="5544616"/>
          </a:xfrm>
          <a:prstGeom prst="rect">
            <a:avLst/>
          </a:prstGeom>
          <a:noFill/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just">
              <a:lnSpc>
                <a:spcPct val="95000"/>
              </a:lnSpc>
              <a:buClrTx/>
              <a:buSzTx/>
            </a:pPr>
            <a:endParaRPr lang="ru-RU" sz="1100" b="1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95000"/>
              </a:lnSpc>
              <a:buClrTx/>
              <a:buSzTx/>
            </a:pPr>
            <a:endParaRPr lang="ru-RU" sz="11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95000"/>
              </a:lnSpc>
              <a:buClrTx/>
              <a:buSzTx/>
            </a:pPr>
            <a:endParaRPr lang="ru-RU" sz="1100" b="1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95000"/>
              </a:lnSpc>
              <a:buClrTx/>
              <a:buSzTx/>
            </a:pPr>
            <a:endParaRPr lang="ru-RU" sz="1100" b="1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95000"/>
              </a:lnSpc>
              <a:buClrTx/>
              <a:buSzTx/>
            </a:pPr>
            <a:r>
              <a:rPr lang="ru-RU" sz="1100" b="1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ДАЛЬНЕЙШИЕ  действия</a:t>
            </a:r>
          </a:p>
          <a:p>
            <a:pPr algn="just">
              <a:lnSpc>
                <a:spcPct val="95000"/>
              </a:lnSpc>
              <a:buClrTx/>
              <a:buSzTx/>
            </a:pPr>
            <a:endParaRPr lang="ru-RU" sz="1100" b="1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95000"/>
              </a:lnSpc>
              <a:buClrTx/>
              <a:buSzTx/>
            </a:pPr>
            <a:r>
              <a:rPr lang="ru-RU" sz="1100" b="1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6</a:t>
            </a:r>
            <a:r>
              <a:rPr lang="ru-RU" sz="1100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100" i="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100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еречисление средств за выполненные работы  Техзакзчику</a:t>
            </a:r>
          </a:p>
          <a:p>
            <a:pPr algn="just">
              <a:lnSpc>
                <a:spcPct val="95000"/>
              </a:lnSpc>
            </a:pPr>
            <a:r>
              <a:rPr lang="ru-RU" sz="1100" b="1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7</a:t>
            </a:r>
            <a:r>
              <a:rPr lang="ru-RU" sz="1100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100" i="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1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сдача объектов в аренду Инициатору и получение арендной платы (Источником арендной платы будет являться выручка от эксплуатации построенных в рамках проекта объектов, эффективность использования которых отражается в финансовом плане проекта)</a:t>
            </a:r>
          </a:p>
          <a:p>
            <a:pPr marL="193675" indent="-193675" algn="just">
              <a:lnSpc>
                <a:spcPct val="95000"/>
              </a:lnSpc>
            </a:pPr>
            <a:r>
              <a:rPr lang="ru-RU" sz="11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7а</a:t>
            </a:r>
            <a:r>
              <a:rPr lang="ru-RU" sz="11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 – эксплуатация объектов Инициатором</a:t>
            </a:r>
          </a:p>
          <a:p>
            <a:pPr marL="193675" indent="-193675" algn="just">
              <a:lnSpc>
                <a:spcPct val="95000"/>
              </a:lnSpc>
              <a:buClrTx/>
              <a:buSzTx/>
            </a:pPr>
            <a:r>
              <a:rPr lang="ru-RU" sz="1100" b="1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8</a:t>
            </a:r>
            <a:r>
              <a:rPr lang="ru-RU" sz="1100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100" i="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– погашение кредита</a:t>
            </a:r>
          </a:p>
          <a:p>
            <a:pPr marL="193675" indent="-193675" algn="just">
              <a:lnSpc>
                <a:spcPct val="95000"/>
              </a:lnSpc>
              <a:buClrTx/>
              <a:buSzTx/>
            </a:pPr>
            <a:r>
              <a:rPr lang="ru-RU" sz="1100" b="1" i="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9</a:t>
            </a:r>
            <a:r>
              <a:rPr lang="ru-RU" sz="1100" i="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 – выплаты для Инвестора (происходят только после </a:t>
            </a:r>
            <a:endParaRPr lang="ru-RU" sz="1100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r>
              <a:rPr lang="ru-RU" sz="1100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олного </a:t>
            </a:r>
            <a:r>
              <a:rPr lang="ru-RU" sz="1100" i="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огашения кредита</a:t>
            </a:r>
            <a:r>
              <a:rPr lang="ru-RU" sz="1100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)</a:t>
            </a: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i="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7" name="Штриховая стрелка вправо 46"/>
          <p:cNvSpPr/>
          <p:nvPr/>
        </p:nvSpPr>
        <p:spPr>
          <a:xfrm rot="10800000" flipH="1">
            <a:off x="6300192" y="2708920"/>
            <a:ext cx="792088" cy="216024"/>
          </a:xfrm>
          <a:prstGeom prst="stripedRightArrow">
            <a:avLst/>
          </a:prstGeom>
          <a:solidFill>
            <a:srgbClr val="418A1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yGlM7QSEGrZVDKm8gx1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QJY_LyIUCLo5ORYbyZf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xEVvIfQUOrRTnfQGOV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hSJkj6Lk2X37.s_66PK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g5hH19FUKl4IKs_WAzr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h50PZvbU2ajD2cS3SH9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7mQBIXi0aSxn1EAy__R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OKc0Gpdk6UbKMGsn3Bz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hoPc8v1U2mm8eYWL5MT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_FK.lsvEmNjwBZy_vd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LPaDBlTkO1ws54N1Fx0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0kaGdUvE.mEfAn0_5fF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lxGY.oG0O32cHklxLv7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2w3KW.CUy6xiUzY51Ky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7DOB6CgJEWU0mb_UndWR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ll82uMk0uveuOmlutX0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nlUT7plUGhiL6RMy0g.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vcetUjMUCaMTo9xkWkr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X.snqLTUOXQDcHjMtpW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K8nqnJuUyeJSEantD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nsrrKl7kiaDqkogTkbQ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ZsVd9NLEmkjCW4mF1dn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ZsVd9NLEmkjCW4mF1dn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ZsVd9NLEmkjCW4mF1d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wZL3G6_02kYy..FMthN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ZsVd9NLEmkjCW4mF1dn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ZsVd9NLEmkjCW4mF1dn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ZsVd9NLEmkjCW4mF1dn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xhPHS2kq_V1YnzP186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Zr97YgbkSFD5WLNOwf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Jqpyp48q0.EUVutfIe_4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gn7jfnhEatUZjfU3us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wY7pfe2kWVmW1lAtP1CQ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99</TotalTime>
  <Words>1959</Words>
  <Application>Microsoft Office PowerPoint</Application>
  <PresentationFormat>Экран (4:3)</PresentationFormat>
  <Paragraphs>534</Paragraphs>
  <Slides>19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9</vt:i4>
      </vt:variant>
    </vt:vector>
  </HeadingPairs>
  <TitlesOfParts>
    <vt:vector size="21" baseType="lpstr">
      <vt:lpstr>1_Тема Office</vt:lpstr>
      <vt:lpstr>2_Тема Office</vt:lpstr>
      <vt:lpstr>  Инструменты реализации долгосрочных инвестиционных проектов на базе регламента  «Инвестиционные проекты с гос. поддержкой и гос. участием»  на основе проектного финансирования в субъектах РФ  </vt:lpstr>
      <vt:lpstr>Презентация PowerPoint</vt:lpstr>
      <vt:lpstr>Презентация PowerPoint</vt:lpstr>
      <vt:lpstr>Координация основных участников инвестпроцеcса </vt:lpstr>
      <vt:lpstr>Презентация PowerPoint</vt:lpstr>
      <vt:lpstr>Особые условия финансирования </vt:lpstr>
      <vt:lpstr>             Какие проекты могут быть заявлены на Конкурс</vt:lpstr>
      <vt:lpstr>7</vt:lpstr>
      <vt:lpstr>Схема финансирования инвестиционного проекта </vt:lpstr>
      <vt:lpstr>    Преимущества реализации проектов «с нуля» в рамках Конкурса</vt:lpstr>
      <vt:lpstr>          Процедура рассмотрение инвестиционных проектов в рамках  Конкурса </vt:lpstr>
      <vt:lpstr> Процедура рассмотрения региональных инвестиционных проектов по «Схеме взаимодействия при реализации инвестиционных проектов с гос. поддержкой / гос. участием», утвержденной № __ Сбербанк России для реализации в соответствии с Постановлением Правительства № 1044 от 11.10.2014</vt:lpstr>
      <vt:lpstr>Презентация PowerPoint</vt:lpstr>
      <vt:lpstr>12</vt:lpstr>
      <vt:lpstr>13</vt:lpstr>
      <vt:lpstr>14</vt:lpstr>
      <vt:lpstr>Принципы формирования Попечительского Совета</vt:lpstr>
      <vt:lpstr>Текущие результаты работы Конкурса</vt:lpstr>
      <vt:lpstr>Презентация PowerPoint</vt:lpstr>
    </vt:vector>
  </TitlesOfParts>
  <Company>Grizli777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еханизмы реализации инвестиционных проектов с господержкой / госучастием в рамках исполнения</dc:title>
  <dc:creator>belichenko</dc:creator>
  <cp:lastModifiedBy>Игорь</cp:lastModifiedBy>
  <cp:revision>297</cp:revision>
  <cp:lastPrinted>2015-03-03T10:46:27Z</cp:lastPrinted>
  <dcterms:created xsi:type="dcterms:W3CDTF">2014-11-17T08:55:10Z</dcterms:created>
  <dcterms:modified xsi:type="dcterms:W3CDTF">2015-05-15T09:41:31Z</dcterms:modified>
</cp:coreProperties>
</file>